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omments/comment1.xml" ContentType="application/vnd.openxmlformats-officedocument.presentationml.comment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omments/comment2.xml" ContentType="application/vnd.openxmlformats-officedocument.presentationml.comment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3342" r:id="rId2"/>
    <p:sldId id="3345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icholas Olivier" initials="NO" lastIdx="2" clrIdx="0">
    <p:extLst>
      <p:ext uri="{19B8F6BF-5375-455C-9EA6-DF929625EA0E}">
        <p15:presenceInfo xmlns:p15="http://schemas.microsoft.com/office/powerpoint/2012/main" userId="Nicholas Olivier" providerId="None"/>
      </p:ext>
    </p:extLst>
  </p:cmAuthor>
  <p:cmAuthor id="2" name="Vinita Phadke" initials="VP" lastIdx="1" clrIdx="1">
    <p:extLst>
      <p:ext uri="{19B8F6BF-5375-455C-9EA6-DF929625EA0E}">
        <p15:presenceInfo xmlns:p15="http://schemas.microsoft.com/office/powerpoint/2012/main" userId="S::vinita.phadke@fractal.ai::fe04f3d8-f065-4d58-8c9d-9683a3a00ea6" providerId="AD"/>
      </p:ext>
    </p:extLst>
  </p:cmAuthor>
  <p:cmAuthor id="3" name="Nicholas Olivier" initials="NO [2]" lastIdx="5" clrIdx="2">
    <p:extLst>
      <p:ext uri="{19B8F6BF-5375-455C-9EA6-DF929625EA0E}">
        <p15:presenceInfo xmlns:p15="http://schemas.microsoft.com/office/powerpoint/2012/main" userId="S::nicholas.olivier@fractal.ai::59e5583c-18ac-43e0-b59b-def1a98ca9d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8D660F5-51A2-4B94-8DA6-AAA3FF4475A3}" v="604" dt="2021-05-17T12:38:35.277"/>
    <p1510:client id="{70DF7376-4A69-E907-FFA7-E2851E93DB5C}" v="1885" dt="2021-05-11T18:02:24.298"/>
    <p1510:client id="{A3B70D51-90F5-41FD-03DB-2C84D753138C}" v="16" dt="2021-05-12T00:14:04.143"/>
    <p1510:client id="{C9FB521C-31C3-44DB-9B8B-06A997184E7B}" v="30" dt="2021-05-12T00:46:59.99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725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commentAuthors" Target="commentAuthors.xml"/><Relationship Id="rId9" Type="http://schemas.microsoft.com/office/2015/10/relationships/revisionInfo" Target="revisionInfo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3" dt="2021-05-11T19:42:13.245" idx="3">
    <p:pos x="7500" y="181"/>
    <p:text>Broadly agree with approach. This makes sense.</p:text>
    <p:extLst>
      <p:ext uri="{C676402C-5697-4E1C-873F-D02D1690AC5C}">
        <p15:threadingInfo xmlns:p15="http://schemas.microsoft.com/office/powerpoint/2012/main" timeZoneBias="300"/>
      </p:ext>
    </p:extLst>
  </p:cm>
  <p:cm authorId="3" dt="2021-05-11T19:42:30.192" idx="4">
    <p:pos x="6365" y="1062"/>
    <p:text>If we are going to be limited to a few simpler transaction types, does it make sense for these to be separate binary models? This way when creating an an A/B test for a single intent, a binary model would be simpler to operationalize, require fewer features potentially, etc. Curious to hear your thoughts as I can see pros and cons of both.</p:text>
    <p:extLst>
      <p:ext uri="{C676402C-5697-4E1C-873F-D02D1690AC5C}">
        <p15:threadingInfo xmlns:p15="http://schemas.microsoft.com/office/powerpoint/2012/main" timeZoneBias="300"/>
      </p:ext>
    </p:extLst>
  </p:cm>
  <p:cm authorId="3" dt="2021-05-11T19:46:14.772" idx="5">
    <p:pos x="3791" y="1062"/>
    <p:text>Any thoughts on how we deal with multiple transactions taking place on one call? Maybe with limited scope of transaction types this is not much of an issue?</p:text>
    <p:extLst>
      <p:ext uri="{C676402C-5697-4E1C-873F-D02D1690AC5C}">
        <p15:threadingInfo xmlns:p15="http://schemas.microsoft.com/office/powerpoint/2012/main" timeZoneBias="30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3" dt="2021-05-11T19:23:17.547" idx="1">
    <p:pos x="7500" y="181"/>
    <p:text>This is very good overall. Nice work.</p:text>
    <p:extLst>
      <p:ext uri="{C676402C-5697-4E1C-873F-D02D1690AC5C}">
        <p15:threadingInfo xmlns:p15="http://schemas.microsoft.com/office/powerpoint/2012/main" timeZoneBias="300"/>
      </p:ext>
    </p:extLst>
  </p:cm>
  <p:cm authorId="3" dt="2021-05-11T19:28:57.817" idx="2">
    <p:pos x="6254" y="1296"/>
    <p:text>Would like to confirm my understanding. After getting the topics with LDA, we apply TextRank algorithms to each topic individually. Then since we have key words/phrases for each, we can create logic to tag the calls? I think this is a good idea, but i want to make sure I understand your thought process too.</p:text>
    <p:extLst>
      <p:ext uri="{C676402C-5697-4E1C-873F-D02D1690AC5C}">
        <p15:threadingInfo xmlns:p15="http://schemas.microsoft.com/office/powerpoint/2012/main" timeZoneBias="30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hyperlink" Target="https://twitter.com/fractalites" TargetMode="External"/><Relationship Id="rId7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hyperlink" Target="http://www.linkedin.com/company/fractal-analytics?trk=company_name" TargetMode="Externa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Nissan Commercial Vehicles: Trucks, Vans &amp; Fleet | Nissan USA">
            <a:extLst>
              <a:ext uri="{FF2B5EF4-FFF2-40B4-BE49-F238E27FC236}">
                <a16:creationId xmlns:a16="http://schemas.microsoft.com/office/drawing/2014/main" id="{9AC7BCF3-07CF-4081-BDD1-72113D3863D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2192000" cy="6749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5EC7F6BD-134F-4E1E-9ADD-1A5C2950FD37}"/>
              </a:ext>
            </a:extLst>
          </p:cNvPr>
          <p:cNvSpPr>
            <a:spLocks/>
          </p:cNvSpPr>
          <p:nvPr userDrawn="1"/>
        </p:nvSpPr>
        <p:spPr bwMode="auto">
          <a:xfrm flipH="1">
            <a:off x="-3478" y="0"/>
            <a:ext cx="9595474" cy="6858000"/>
          </a:xfrm>
          <a:custGeom>
            <a:avLst/>
            <a:gdLst>
              <a:gd name="connsiteX0" fmla="*/ 9595474 w 9595474"/>
              <a:gd name="connsiteY0" fmla="*/ 0 h 6858000"/>
              <a:gd name="connsiteX1" fmla="*/ 3372834 w 9595474"/>
              <a:gd name="connsiteY1" fmla="*/ 0 h 6858000"/>
              <a:gd name="connsiteX2" fmla="*/ 3316326 w 9595474"/>
              <a:gd name="connsiteY2" fmla="*/ 0 h 6858000"/>
              <a:gd name="connsiteX3" fmla="*/ 2914643 w 9595474"/>
              <a:gd name="connsiteY3" fmla="*/ 0 h 6858000"/>
              <a:gd name="connsiteX4" fmla="*/ 2857270 w 9595474"/>
              <a:gd name="connsiteY4" fmla="*/ 0 h 6858000"/>
              <a:gd name="connsiteX5" fmla="*/ 0 w 9595474"/>
              <a:gd name="connsiteY5" fmla="*/ 0 h 6858000"/>
              <a:gd name="connsiteX6" fmla="*/ 692823 w 9595474"/>
              <a:gd name="connsiteY6" fmla="*/ 691198 h 6858000"/>
              <a:gd name="connsiteX7" fmla="*/ 691345 w 9595474"/>
              <a:gd name="connsiteY7" fmla="*/ 683895 h 6858000"/>
              <a:gd name="connsiteX8" fmla="*/ 690754 w 9595474"/>
              <a:gd name="connsiteY8" fmla="*/ 676275 h 6858000"/>
              <a:gd name="connsiteX9" fmla="*/ 690754 w 9595474"/>
              <a:gd name="connsiteY9" fmla="*/ 669290 h 6858000"/>
              <a:gd name="connsiteX10" fmla="*/ 690754 w 9595474"/>
              <a:gd name="connsiteY10" fmla="*/ 661988 h 6858000"/>
              <a:gd name="connsiteX11" fmla="*/ 691345 w 9595474"/>
              <a:gd name="connsiteY11" fmla="*/ 654368 h 6858000"/>
              <a:gd name="connsiteX12" fmla="*/ 692527 w 9595474"/>
              <a:gd name="connsiteY12" fmla="*/ 647383 h 6858000"/>
              <a:gd name="connsiteX13" fmla="*/ 694005 w 9595474"/>
              <a:gd name="connsiteY13" fmla="*/ 640080 h 6858000"/>
              <a:gd name="connsiteX14" fmla="*/ 695778 w 9595474"/>
              <a:gd name="connsiteY14" fmla="*/ 633095 h 6858000"/>
              <a:gd name="connsiteX15" fmla="*/ 698143 w 9595474"/>
              <a:gd name="connsiteY15" fmla="*/ 625793 h 6858000"/>
              <a:gd name="connsiteX16" fmla="*/ 700803 w 9595474"/>
              <a:gd name="connsiteY16" fmla="*/ 618808 h 6858000"/>
              <a:gd name="connsiteX17" fmla="*/ 704054 w 9595474"/>
              <a:gd name="connsiteY17" fmla="*/ 612140 h 6858000"/>
              <a:gd name="connsiteX18" fmla="*/ 707601 w 9595474"/>
              <a:gd name="connsiteY18" fmla="*/ 605790 h 6858000"/>
              <a:gd name="connsiteX19" fmla="*/ 712035 w 9595474"/>
              <a:gd name="connsiteY19" fmla="*/ 599123 h 6858000"/>
              <a:gd name="connsiteX20" fmla="*/ 716173 w 9595474"/>
              <a:gd name="connsiteY20" fmla="*/ 592773 h 6858000"/>
              <a:gd name="connsiteX21" fmla="*/ 721198 w 9595474"/>
              <a:gd name="connsiteY21" fmla="*/ 587058 h 6858000"/>
              <a:gd name="connsiteX22" fmla="*/ 726518 w 9595474"/>
              <a:gd name="connsiteY22" fmla="*/ 581343 h 6858000"/>
              <a:gd name="connsiteX23" fmla="*/ 731247 w 9595474"/>
              <a:gd name="connsiteY23" fmla="*/ 576898 h 6858000"/>
              <a:gd name="connsiteX24" fmla="*/ 735976 w 9595474"/>
              <a:gd name="connsiteY24" fmla="*/ 572453 h 6858000"/>
              <a:gd name="connsiteX25" fmla="*/ 741001 w 9595474"/>
              <a:gd name="connsiteY25" fmla="*/ 568960 h 6858000"/>
              <a:gd name="connsiteX26" fmla="*/ 746026 w 9595474"/>
              <a:gd name="connsiteY26" fmla="*/ 565468 h 6858000"/>
              <a:gd name="connsiteX27" fmla="*/ 751050 w 9595474"/>
              <a:gd name="connsiteY27" fmla="*/ 562293 h 6858000"/>
              <a:gd name="connsiteX28" fmla="*/ 756371 w 9595474"/>
              <a:gd name="connsiteY28" fmla="*/ 558800 h 6858000"/>
              <a:gd name="connsiteX29" fmla="*/ 761691 w 9595474"/>
              <a:gd name="connsiteY29" fmla="*/ 556578 h 6858000"/>
              <a:gd name="connsiteX30" fmla="*/ 767602 w 9595474"/>
              <a:gd name="connsiteY30" fmla="*/ 554038 h 6858000"/>
              <a:gd name="connsiteX31" fmla="*/ 772923 w 9595474"/>
              <a:gd name="connsiteY31" fmla="*/ 551815 h 6858000"/>
              <a:gd name="connsiteX32" fmla="*/ 778834 w 9595474"/>
              <a:gd name="connsiteY32" fmla="*/ 549910 h 6858000"/>
              <a:gd name="connsiteX33" fmla="*/ 784450 w 9595474"/>
              <a:gd name="connsiteY33" fmla="*/ 548640 h 6858000"/>
              <a:gd name="connsiteX34" fmla="*/ 790066 w 9595474"/>
              <a:gd name="connsiteY34" fmla="*/ 547370 h 6858000"/>
              <a:gd name="connsiteX35" fmla="*/ 795977 w 9595474"/>
              <a:gd name="connsiteY35" fmla="*/ 546418 h 6858000"/>
              <a:gd name="connsiteX36" fmla="*/ 802184 w 9595474"/>
              <a:gd name="connsiteY36" fmla="*/ 545783 h 6858000"/>
              <a:gd name="connsiteX37" fmla="*/ 807800 w 9595474"/>
              <a:gd name="connsiteY37" fmla="*/ 545465 h 6858000"/>
              <a:gd name="connsiteX38" fmla="*/ 814007 w 9595474"/>
              <a:gd name="connsiteY38" fmla="*/ 544830 h 6858000"/>
              <a:gd name="connsiteX39" fmla="*/ 819623 w 9595474"/>
              <a:gd name="connsiteY39" fmla="*/ 545465 h 6858000"/>
              <a:gd name="connsiteX40" fmla="*/ 825830 w 9595474"/>
              <a:gd name="connsiteY40" fmla="*/ 545783 h 6858000"/>
              <a:gd name="connsiteX41" fmla="*/ 831446 w 9595474"/>
              <a:gd name="connsiteY41" fmla="*/ 546418 h 6858000"/>
              <a:gd name="connsiteX42" fmla="*/ 837358 w 9595474"/>
              <a:gd name="connsiteY42" fmla="*/ 547370 h 6858000"/>
              <a:gd name="connsiteX43" fmla="*/ 842974 w 9595474"/>
              <a:gd name="connsiteY43" fmla="*/ 548640 h 6858000"/>
              <a:gd name="connsiteX44" fmla="*/ 848885 w 9595474"/>
              <a:gd name="connsiteY44" fmla="*/ 549910 h 6858000"/>
              <a:gd name="connsiteX45" fmla="*/ 854501 w 9595474"/>
              <a:gd name="connsiteY45" fmla="*/ 551815 h 6858000"/>
              <a:gd name="connsiteX46" fmla="*/ 860117 w 9595474"/>
              <a:gd name="connsiteY46" fmla="*/ 554038 h 6858000"/>
              <a:gd name="connsiteX47" fmla="*/ 865733 w 9595474"/>
              <a:gd name="connsiteY47" fmla="*/ 556578 h 6858000"/>
              <a:gd name="connsiteX48" fmla="*/ 871053 w 9595474"/>
              <a:gd name="connsiteY48" fmla="*/ 558800 h 6858000"/>
              <a:gd name="connsiteX49" fmla="*/ 876373 w 9595474"/>
              <a:gd name="connsiteY49" fmla="*/ 562293 h 6858000"/>
              <a:gd name="connsiteX50" fmla="*/ 881398 w 9595474"/>
              <a:gd name="connsiteY50" fmla="*/ 565468 h 6858000"/>
              <a:gd name="connsiteX51" fmla="*/ 886718 w 9595474"/>
              <a:gd name="connsiteY51" fmla="*/ 568960 h 6858000"/>
              <a:gd name="connsiteX52" fmla="*/ 891447 w 9595474"/>
              <a:gd name="connsiteY52" fmla="*/ 572453 h 6858000"/>
              <a:gd name="connsiteX53" fmla="*/ 896177 w 9595474"/>
              <a:gd name="connsiteY53" fmla="*/ 576898 h 6858000"/>
              <a:gd name="connsiteX54" fmla="*/ 900906 w 9595474"/>
              <a:gd name="connsiteY54" fmla="*/ 581343 h 6858000"/>
              <a:gd name="connsiteX55" fmla="*/ 1431459 w 9595474"/>
              <a:gd name="connsiteY55" fmla="*/ 1111568 h 6858000"/>
              <a:gd name="connsiteX56" fmla="*/ 2394731 w 9595474"/>
              <a:gd name="connsiteY56" fmla="*/ 2074863 h 6858000"/>
              <a:gd name="connsiteX57" fmla="*/ 2399164 w 9595474"/>
              <a:gd name="connsiteY57" fmla="*/ 2079308 h 6858000"/>
              <a:gd name="connsiteX58" fmla="*/ 2404189 w 9595474"/>
              <a:gd name="connsiteY58" fmla="*/ 2083435 h 6858000"/>
              <a:gd name="connsiteX59" fmla="*/ 2408918 w 9595474"/>
              <a:gd name="connsiteY59" fmla="*/ 2087245 h 6858000"/>
              <a:gd name="connsiteX60" fmla="*/ 2413943 w 9595474"/>
              <a:gd name="connsiteY60" fmla="*/ 2090738 h 6858000"/>
              <a:gd name="connsiteX61" fmla="*/ 2419263 w 9595474"/>
              <a:gd name="connsiteY61" fmla="*/ 2093913 h 6858000"/>
              <a:gd name="connsiteX62" fmla="*/ 2424583 w 9595474"/>
              <a:gd name="connsiteY62" fmla="*/ 2096770 h 6858000"/>
              <a:gd name="connsiteX63" fmla="*/ 2430199 w 9595474"/>
              <a:gd name="connsiteY63" fmla="*/ 2099628 h 6858000"/>
              <a:gd name="connsiteX64" fmla="*/ 2435520 w 9595474"/>
              <a:gd name="connsiteY64" fmla="*/ 2101850 h 6858000"/>
              <a:gd name="connsiteX65" fmla="*/ 2441136 w 9595474"/>
              <a:gd name="connsiteY65" fmla="*/ 2104073 h 6858000"/>
              <a:gd name="connsiteX66" fmla="*/ 2447047 w 9595474"/>
              <a:gd name="connsiteY66" fmla="*/ 2105660 h 6858000"/>
              <a:gd name="connsiteX67" fmla="*/ 2452663 w 9595474"/>
              <a:gd name="connsiteY67" fmla="*/ 2107565 h 6858000"/>
              <a:gd name="connsiteX68" fmla="*/ 2458574 w 9595474"/>
              <a:gd name="connsiteY68" fmla="*/ 2108518 h 6858000"/>
              <a:gd name="connsiteX69" fmla="*/ 2464190 w 9595474"/>
              <a:gd name="connsiteY69" fmla="*/ 2109788 h 6858000"/>
              <a:gd name="connsiteX70" fmla="*/ 2469806 w 9595474"/>
              <a:gd name="connsiteY70" fmla="*/ 2110423 h 6858000"/>
              <a:gd name="connsiteX71" fmla="*/ 2476013 w 9595474"/>
              <a:gd name="connsiteY71" fmla="*/ 2110740 h 6858000"/>
              <a:gd name="connsiteX72" fmla="*/ 2481925 w 9595474"/>
              <a:gd name="connsiteY72" fmla="*/ 2111058 h 6858000"/>
              <a:gd name="connsiteX73" fmla="*/ 2487836 w 9595474"/>
              <a:gd name="connsiteY73" fmla="*/ 2110740 h 6858000"/>
              <a:gd name="connsiteX74" fmla="*/ 2493747 w 9595474"/>
              <a:gd name="connsiteY74" fmla="*/ 2110423 h 6858000"/>
              <a:gd name="connsiteX75" fmla="*/ 2499363 w 9595474"/>
              <a:gd name="connsiteY75" fmla="*/ 2109788 h 6858000"/>
              <a:gd name="connsiteX76" fmla="*/ 2505570 w 9595474"/>
              <a:gd name="connsiteY76" fmla="*/ 2108518 h 6858000"/>
              <a:gd name="connsiteX77" fmla="*/ 2511186 w 9595474"/>
              <a:gd name="connsiteY77" fmla="*/ 2107565 h 6858000"/>
              <a:gd name="connsiteX78" fmla="*/ 2517098 w 9595474"/>
              <a:gd name="connsiteY78" fmla="*/ 2105660 h 6858000"/>
              <a:gd name="connsiteX79" fmla="*/ 2522714 w 9595474"/>
              <a:gd name="connsiteY79" fmla="*/ 2104073 h 6858000"/>
              <a:gd name="connsiteX80" fmla="*/ 2528034 w 9595474"/>
              <a:gd name="connsiteY80" fmla="*/ 2101850 h 6858000"/>
              <a:gd name="connsiteX81" fmla="*/ 2533945 w 9595474"/>
              <a:gd name="connsiteY81" fmla="*/ 2099628 h 6858000"/>
              <a:gd name="connsiteX82" fmla="*/ 2539266 w 9595474"/>
              <a:gd name="connsiteY82" fmla="*/ 2096770 h 6858000"/>
              <a:gd name="connsiteX83" fmla="*/ 2544290 w 9595474"/>
              <a:gd name="connsiteY83" fmla="*/ 2093913 h 6858000"/>
              <a:gd name="connsiteX84" fmla="*/ 2549611 w 9595474"/>
              <a:gd name="connsiteY84" fmla="*/ 2090738 h 6858000"/>
              <a:gd name="connsiteX85" fmla="*/ 2554635 w 9595474"/>
              <a:gd name="connsiteY85" fmla="*/ 2087245 h 6858000"/>
              <a:gd name="connsiteX86" fmla="*/ 2559660 w 9595474"/>
              <a:gd name="connsiteY86" fmla="*/ 2083435 h 6858000"/>
              <a:gd name="connsiteX87" fmla="*/ 2564389 w 9595474"/>
              <a:gd name="connsiteY87" fmla="*/ 2079308 h 6858000"/>
              <a:gd name="connsiteX88" fmla="*/ 2569119 w 9595474"/>
              <a:gd name="connsiteY88" fmla="*/ 2074863 h 6858000"/>
              <a:gd name="connsiteX89" fmla="*/ 2573257 w 9595474"/>
              <a:gd name="connsiteY89" fmla="*/ 2070100 h 6858000"/>
              <a:gd name="connsiteX90" fmla="*/ 2577395 w 9595474"/>
              <a:gd name="connsiteY90" fmla="*/ 2065655 h 6858000"/>
              <a:gd name="connsiteX91" fmla="*/ 2581237 w 9595474"/>
              <a:gd name="connsiteY91" fmla="*/ 2060575 h 6858000"/>
              <a:gd name="connsiteX92" fmla="*/ 2584784 w 9595474"/>
              <a:gd name="connsiteY92" fmla="*/ 2055495 h 6858000"/>
              <a:gd name="connsiteX93" fmla="*/ 2588035 w 9595474"/>
              <a:gd name="connsiteY93" fmla="*/ 2050415 h 6858000"/>
              <a:gd name="connsiteX94" fmla="*/ 2590991 w 9595474"/>
              <a:gd name="connsiteY94" fmla="*/ 2045018 h 6858000"/>
              <a:gd name="connsiteX95" fmla="*/ 2593651 w 9595474"/>
              <a:gd name="connsiteY95" fmla="*/ 2039620 h 6858000"/>
              <a:gd name="connsiteX96" fmla="*/ 2596016 w 9595474"/>
              <a:gd name="connsiteY96" fmla="*/ 2034223 h 6858000"/>
              <a:gd name="connsiteX97" fmla="*/ 2598085 w 9595474"/>
              <a:gd name="connsiteY97" fmla="*/ 2028508 h 6858000"/>
              <a:gd name="connsiteX98" fmla="*/ 2599858 w 9595474"/>
              <a:gd name="connsiteY98" fmla="*/ 2022793 h 6858000"/>
              <a:gd name="connsiteX99" fmla="*/ 2601336 w 9595474"/>
              <a:gd name="connsiteY99" fmla="*/ 2017078 h 6858000"/>
              <a:gd name="connsiteX100" fmla="*/ 2602814 w 9595474"/>
              <a:gd name="connsiteY100" fmla="*/ 2011363 h 6858000"/>
              <a:gd name="connsiteX101" fmla="*/ 2603996 w 9595474"/>
              <a:gd name="connsiteY101" fmla="*/ 2005648 h 6858000"/>
              <a:gd name="connsiteX102" fmla="*/ 2604587 w 9595474"/>
              <a:gd name="connsiteY102" fmla="*/ 1999615 h 6858000"/>
              <a:gd name="connsiteX103" fmla="*/ 2604883 w 9595474"/>
              <a:gd name="connsiteY103" fmla="*/ 1993583 h 6858000"/>
              <a:gd name="connsiteX104" fmla="*/ 2604883 w 9595474"/>
              <a:gd name="connsiteY104" fmla="*/ 1987550 h 6858000"/>
              <a:gd name="connsiteX105" fmla="*/ 2604883 w 9595474"/>
              <a:gd name="connsiteY105" fmla="*/ 1981835 h 6858000"/>
              <a:gd name="connsiteX106" fmla="*/ 2604587 w 9595474"/>
              <a:gd name="connsiteY106" fmla="*/ 1976120 h 6858000"/>
              <a:gd name="connsiteX107" fmla="*/ 2603996 w 9595474"/>
              <a:gd name="connsiteY107" fmla="*/ 1970088 h 6858000"/>
              <a:gd name="connsiteX108" fmla="*/ 2602814 w 9595474"/>
              <a:gd name="connsiteY108" fmla="*/ 1964373 h 6858000"/>
              <a:gd name="connsiteX109" fmla="*/ 2601336 w 9595474"/>
              <a:gd name="connsiteY109" fmla="*/ 1958658 h 6858000"/>
              <a:gd name="connsiteX110" fmla="*/ 2599858 w 9595474"/>
              <a:gd name="connsiteY110" fmla="*/ 1952625 h 6858000"/>
              <a:gd name="connsiteX111" fmla="*/ 2598085 w 9595474"/>
              <a:gd name="connsiteY111" fmla="*/ 1946910 h 6858000"/>
              <a:gd name="connsiteX112" fmla="*/ 2596016 w 9595474"/>
              <a:gd name="connsiteY112" fmla="*/ 1941195 h 6858000"/>
              <a:gd name="connsiteX113" fmla="*/ 2593651 w 9595474"/>
              <a:gd name="connsiteY113" fmla="*/ 1935798 h 6858000"/>
              <a:gd name="connsiteX114" fmla="*/ 2590991 w 9595474"/>
              <a:gd name="connsiteY114" fmla="*/ 1930400 h 6858000"/>
              <a:gd name="connsiteX115" fmla="*/ 2588035 w 9595474"/>
              <a:gd name="connsiteY115" fmla="*/ 1925003 h 6858000"/>
              <a:gd name="connsiteX116" fmla="*/ 2584784 w 9595474"/>
              <a:gd name="connsiteY116" fmla="*/ 1919923 h 6858000"/>
              <a:gd name="connsiteX117" fmla="*/ 2581237 w 9595474"/>
              <a:gd name="connsiteY117" fmla="*/ 1915160 h 6858000"/>
              <a:gd name="connsiteX118" fmla="*/ 2577395 w 9595474"/>
              <a:gd name="connsiteY118" fmla="*/ 1910080 h 6858000"/>
              <a:gd name="connsiteX119" fmla="*/ 2573257 w 9595474"/>
              <a:gd name="connsiteY119" fmla="*/ 1905318 h 6858000"/>
              <a:gd name="connsiteX120" fmla="*/ 2569119 w 9595474"/>
              <a:gd name="connsiteY120" fmla="*/ 1900555 h 6858000"/>
              <a:gd name="connsiteX121" fmla="*/ 1590477 w 9595474"/>
              <a:gd name="connsiteY121" fmla="*/ 922020 h 6858000"/>
              <a:gd name="connsiteX122" fmla="*/ 1272736 w 9595474"/>
              <a:gd name="connsiteY122" fmla="*/ 604203 h 6858000"/>
              <a:gd name="connsiteX123" fmla="*/ 1268303 w 9595474"/>
              <a:gd name="connsiteY123" fmla="*/ 599440 h 6858000"/>
              <a:gd name="connsiteX124" fmla="*/ 1264165 w 9595474"/>
              <a:gd name="connsiteY124" fmla="*/ 594995 h 6858000"/>
              <a:gd name="connsiteX125" fmla="*/ 1260322 w 9595474"/>
              <a:gd name="connsiteY125" fmla="*/ 589915 h 6858000"/>
              <a:gd name="connsiteX126" fmla="*/ 1256776 w 9595474"/>
              <a:gd name="connsiteY126" fmla="*/ 584835 h 6858000"/>
              <a:gd name="connsiteX127" fmla="*/ 1253524 w 9595474"/>
              <a:gd name="connsiteY127" fmla="*/ 579755 h 6858000"/>
              <a:gd name="connsiteX128" fmla="*/ 1250864 w 9595474"/>
              <a:gd name="connsiteY128" fmla="*/ 574358 h 6858000"/>
              <a:gd name="connsiteX129" fmla="*/ 1247908 w 9595474"/>
              <a:gd name="connsiteY129" fmla="*/ 568960 h 6858000"/>
              <a:gd name="connsiteX130" fmla="*/ 1245839 w 9595474"/>
              <a:gd name="connsiteY130" fmla="*/ 563563 h 6858000"/>
              <a:gd name="connsiteX131" fmla="*/ 1243475 w 9595474"/>
              <a:gd name="connsiteY131" fmla="*/ 557848 h 6858000"/>
              <a:gd name="connsiteX132" fmla="*/ 1241701 w 9595474"/>
              <a:gd name="connsiteY132" fmla="*/ 552133 h 6858000"/>
              <a:gd name="connsiteX133" fmla="*/ 1239928 w 9595474"/>
              <a:gd name="connsiteY133" fmla="*/ 546418 h 6858000"/>
              <a:gd name="connsiteX134" fmla="*/ 1238746 w 9595474"/>
              <a:gd name="connsiteY134" fmla="*/ 540703 h 6858000"/>
              <a:gd name="connsiteX135" fmla="*/ 1237859 w 9595474"/>
              <a:gd name="connsiteY135" fmla="*/ 534988 h 6858000"/>
              <a:gd name="connsiteX136" fmla="*/ 1236972 w 9595474"/>
              <a:gd name="connsiteY136" fmla="*/ 528638 h 6858000"/>
              <a:gd name="connsiteX137" fmla="*/ 1236677 w 9595474"/>
              <a:gd name="connsiteY137" fmla="*/ 522923 h 6858000"/>
              <a:gd name="connsiteX138" fmla="*/ 1236381 w 9595474"/>
              <a:gd name="connsiteY138" fmla="*/ 516890 h 6858000"/>
              <a:gd name="connsiteX139" fmla="*/ 1236677 w 9595474"/>
              <a:gd name="connsiteY139" fmla="*/ 511175 h 6858000"/>
              <a:gd name="connsiteX140" fmla="*/ 1236972 w 9595474"/>
              <a:gd name="connsiteY140" fmla="*/ 505460 h 6858000"/>
              <a:gd name="connsiteX141" fmla="*/ 1237859 w 9595474"/>
              <a:gd name="connsiteY141" fmla="*/ 499428 h 6858000"/>
              <a:gd name="connsiteX142" fmla="*/ 1238746 w 9595474"/>
              <a:gd name="connsiteY142" fmla="*/ 493713 h 6858000"/>
              <a:gd name="connsiteX143" fmla="*/ 1239928 w 9595474"/>
              <a:gd name="connsiteY143" fmla="*/ 487680 h 6858000"/>
              <a:gd name="connsiteX144" fmla="*/ 1241701 w 9595474"/>
              <a:gd name="connsiteY144" fmla="*/ 481965 h 6858000"/>
              <a:gd name="connsiteX145" fmla="*/ 1243475 w 9595474"/>
              <a:gd name="connsiteY145" fmla="*/ 476250 h 6858000"/>
              <a:gd name="connsiteX146" fmla="*/ 1245839 w 9595474"/>
              <a:gd name="connsiteY146" fmla="*/ 470535 h 6858000"/>
              <a:gd name="connsiteX147" fmla="*/ 1247908 w 9595474"/>
              <a:gd name="connsiteY147" fmla="*/ 465138 h 6858000"/>
              <a:gd name="connsiteX148" fmla="*/ 1250864 w 9595474"/>
              <a:gd name="connsiteY148" fmla="*/ 459740 h 6858000"/>
              <a:gd name="connsiteX149" fmla="*/ 1253524 w 9595474"/>
              <a:gd name="connsiteY149" fmla="*/ 454343 h 6858000"/>
              <a:gd name="connsiteX150" fmla="*/ 1256776 w 9595474"/>
              <a:gd name="connsiteY150" fmla="*/ 449263 h 6858000"/>
              <a:gd name="connsiteX151" fmla="*/ 1260322 w 9595474"/>
              <a:gd name="connsiteY151" fmla="*/ 444500 h 6858000"/>
              <a:gd name="connsiteX152" fmla="*/ 1264165 w 9595474"/>
              <a:gd name="connsiteY152" fmla="*/ 439420 h 6858000"/>
              <a:gd name="connsiteX153" fmla="*/ 1268303 w 9595474"/>
              <a:gd name="connsiteY153" fmla="*/ 434658 h 6858000"/>
              <a:gd name="connsiteX154" fmla="*/ 1272736 w 9595474"/>
              <a:gd name="connsiteY154" fmla="*/ 429895 h 6858000"/>
              <a:gd name="connsiteX155" fmla="*/ 1277466 w 9595474"/>
              <a:gd name="connsiteY155" fmla="*/ 425768 h 6858000"/>
              <a:gd name="connsiteX156" fmla="*/ 1281899 w 9595474"/>
              <a:gd name="connsiteY156" fmla="*/ 421323 h 6858000"/>
              <a:gd name="connsiteX157" fmla="*/ 1286924 w 9595474"/>
              <a:gd name="connsiteY157" fmla="*/ 417830 h 6858000"/>
              <a:gd name="connsiteX158" fmla="*/ 1291949 w 9595474"/>
              <a:gd name="connsiteY158" fmla="*/ 414338 h 6858000"/>
              <a:gd name="connsiteX159" fmla="*/ 1296973 w 9595474"/>
              <a:gd name="connsiteY159" fmla="*/ 410845 h 6858000"/>
              <a:gd name="connsiteX160" fmla="*/ 1302589 w 9595474"/>
              <a:gd name="connsiteY160" fmla="*/ 407988 h 6858000"/>
              <a:gd name="connsiteX161" fmla="*/ 1307910 w 9595474"/>
              <a:gd name="connsiteY161" fmla="*/ 405130 h 6858000"/>
              <a:gd name="connsiteX162" fmla="*/ 1313230 w 9595474"/>
              <a:gd name="connsiteY162" fmla="*/ 402908 h 6858000"/>
              <a:gd name="connsiteX163" fmla="*/ 1318846 w 9595474"/>
              <a:gd name="connsiteY163" fmla="*/ 401003 h 6858000"/>
              <a:gd name="connsiteX164" fmla="*/ 1324757 w 9595474"/>
              <a:gd name="connsiteY164" fmla="*/ 399098 h 6858000"/>
              <a:gd name="connsiteX165" fmla="*/ 1330373 w 9595474"/>
              <a:gd name="connsiteY165" fmla="*/ 397193 h 6858000"/>
              <a:gd name="connsiteX166" fmla="*/ 1336285 w 9595474"/>
              <a:gd name="connsiteY166" fmla="*/ 396240 h 6858000"/>
              <a:gd name="connsiteX167" fmla="*/ 1341901 w 9595474"/>
              <a:gd name="connsiteY167" fmla="*/ 395288 h 6858000"/>
              <a:gd name="connsiteX168" fmla="*/ 1348108 w 9595474"/>
              <a:gd name="connsiteY168" fmla="*/ 394335 h 6858000"/>
              <a:gd name="connsiteX169" fmla="*/ 1353723 w 9595474"/>
              <a:gd name="connsiteY169" fmla="*/ 394018 h 6858000"/>
              <a:gd name="connsiteX170" fmla="*/ 1359930 w 9595474"/>
              <a:gd name="connsiteY170" fmla="*/ 393700 h 6858000"/>
              <a:gd name="connsiteX171" fmla="*/ 1365546 w 9595474"/>
              <a:gd name="connsiteY171" fmla="*/ 394018 h 6858000"/>
              <a:gd name="connsiteX172" fmla="*/ 1371458 w 9595474"/>
              <a:gd name="connsiteY172" fmla="*/ 394335 h 6858000"/>
              <a:gd name="connsiteX173" fmla="*/ 1377665 w 9595474"/>
              <a:gd name="connsiteY173" fmla="*/ 395288 h 6858000"/>
              <a:gd name="connsiteX174" fmla="*/ 1383281 w 9595474"/>
              <a:gd name="connsiteY174" fmla="*/ 396240 h 6858000"/>
              <a:gd name="connsiteX175" fmla="*/ 1388897 w 9595474"/>
              <a:gd name="connsiteY175" fmla="*/ 397193 h 6858000"/>
              <a:gd name="connsiteX176" fmla="*/ 1394808 w 9595474"/>
              <a:gd name="connsiteY176" fmla="*/ 399098 h 6858000"/>
              <a:gd name="connsiteX177" fmla="*/ 1400424 w 9595474"/>
              <a:gd name="connsiteY177" fmla="*/ 401003 h 6858000"/>
              <a:gd name="connsiteX178" fmla="*/ 1406335 w 9595474"/>
              <a:gd name="connsiteY178" fmla="*/ 402908 h 6858000"/>
              <a:gd name="connsiteX179" fmla="*/ 1411656 w 9595474"/>
              <a:gd name="connsiteY179" fmla="*/ 405130 h 6858000"/>
              <a:gd name="connsiteX180" fmla="*/ 1416976 w 9595474"/>
              <a:gd name="connsiteY180" fmla="*/ 407988 h 6858000"/>
              <a:gd name="connsiteX181" fmla="*/ 1422296 w 9595474"/>
              <a:gd name="connsiteY181" fmla="*/ 410845 h 6858000"/>
              <a:gd name="connsiteX182" fmla="*/ 1427617 w 9595474"/>
              <a:gd name="connsiteY182" fmla="*/ 414338 h 6858000"/>
              <a:gd name="connsiteX183" fmla="*/ 1432641 w 9595474"/>
              <a:gd name="connsiteY183" fmla="*/ 417830 h 6858000"/>
              <a:gd name="connsiteX184" fmla="*/ 1437666 w 9595474"/>
              <a:gd name="connsiteY184" fmla="*/ 421323 h 6858000"/>
              <a:gd name="connsiteX185" fmla="*/ 1442100 w 9595474"/>
              <a:gd name="connsiteY185" fmla="*/ 425768 h 6858000"/>
              <a:gd name="connsiteX186" fmla="*/ 1446829 w 9595474"/>
              <a:gd name="connsiteY186" fmla="*/ 429895 h 6858000"/>
              <a:gd name="connsiteX187" fmla="*/ 1907036 w 9595474"/>
              <a:gd name="connsiteY187" fmla="*/ 890270 h 6858000"/>
              <a:gd name="connsiteX188" fmla="*/ 2165662 w 9595474"/>
              <a:gd name="connsiteY188" fmla="*/ 1148715 h 6858000"/>
              <a:gd name="connsiteX189" fmla="*/ 2170391 w 9595474"/>
              <a:gd name="connsiteY189" fmla="*/ 1153160 h 6858000"/>
              <a:gd name="connsiteX190" fmla="*/ 2175416 w 9595474"/>
              <a:gd name="connsiteY190" fmla="*/ 1157288 h 6858000"/>
              <a:gd name="connsiteX191" fmla="*/ 2180145 w 9595474"/>
              <a:gd name="connsiteY191" fmla="*/ 1161098 h 6858000"/>
              <a:gd name="connsiteX192" fmla="*/ 2185170 w 9595474"/>
              <a:gd name="connsiteY192" fmla="*/ 1164590 h 6858000"/>
              <a:gd name="connsiteX193" fmla="*/ 2190490 w 9595474"/>
              <a:gd name="connsiteY193" fmla="*/ 1167765 h 6858000"/>
              <a:gd name="connsiteX194" fmla="*/ 2195810 w 9595474"/>
              <a:gd name="connsiteY194" fmla="*/ 1170623 h 6858000"/>
              <a:gd name="connsiteX195" fmla="*/ 2201130 w 9595474"/>
              <a:gd name="connsiteY195" fmla="*/ 1173480 h 6858000"/>
              <a:gd name="connsiteX196" fmla="*/ 2206746 w 9595474"/>
              <a:gd name="connsiteY196" fmla="*/ 1176020 h 6858000"/>
              <a:gd name="connsiteX197" fmla="*/ 2212362 w 9595474"/>
              <a:gd name="connsiteY197" fmla="*/ 1177925 h 6858000"/>
              <a:gd name="connsiteX198" fmla="*/ 2217683 w 9595474"/>
              <a:gd name="connsiteY198" fmla="*/ 1180148 h 6858000"/>
              <a:gd name="connsiteX199" fmla="*/ 2223594 w 9595474"/>
              <a:gd name="connsiteY199" fmla="*/ 1181418 h 6858000"/>
              <a:gd name="connsiteX200" fmla="*/ 2229505 w 9595474"/>
              <a:gd name="connsiteY200" fmla="*/ 1182688 h 6858000"/>
              <a:gd name="connsiteX201" fmla="*/ 2235417 w 9595474"/>
              <a:gd name="connsiteY201" fmla="*/ 1183640 h 6858000"/>
              <a:gd name="connsiteX202" fmla="*/ 2241033 w 9595474"/>
              <a:gd name="connsiteY202" fmla="*/ 1184275 h 6858000"/>
              <a:gd name="connsiteX203" fmla="*/ 2247240 w 9595474"/>
              <a:gd name="connsiteY203" fmla="*/ 1184593 h 6858000"/>
              <a:gd name="connsiteX204" fmla="*/ 2252856 w 9595474"/>
              <a:gd name="connsiteY204" fmla="*/ 1185228 h 6858000"/>
              <a:gd name="connsiteX205" fmla="*/ 2259063 w 9595474"/>
              <a:gd name="connsiteY205" fmla="*/ 1184593 h 6858000"/>
              <a:gd name="connsiteX206" fmla="*/ 2264679 w 9595474"/>
              <a:gd name="connsiteY206" fmla="*/ 1184275 h 6858000"/>
              <a:gd name="connsiteX207" fmla="*/ 2270590 w 9595474"/>
              <a:gd name="connsiteY207" fmla="*/ 1183640 h 6858000"/>
              <a:gd name="connsiteX208" fmla="*/ 2276797 w 9595474"/>
              <a:gd name="connsiteY208" fmla="*/ 1182688 h 6858000"/>
              <a:gd name="connsiteX209" fmla="*/ 2282413 w 9595474"/>
              <a:gd name="connsiteY209" fmla="*/ 1181418 h 6858000"/>
              <a:gd name="connsiteX210" fmla="*/ 2288029 w 9595474"/>
              <a:gd name="connsiteY210" fmla="*/ 1180148 h 6858000"/>
              <a:gd name="connsiteX211" fmla="*/ 2293940 w 9595474"/>
              <a:gd name="connsiteY211" fmla="*/ 1177925 h 6858000"/>
              <a:gd name="connsiteX212" fmla="*/ 2299261 w 9595474"/>
              <a:gd name="connsiteY212" fmla="*/ 1176020 h 6858000"/>
              <a:gd name="connsiteX213" fmla="*/ 2304581 w 9595474"/>
              <a:gd name="connsiteY213" fmla="*/ 1173480 h 6858000"/>
              <a:gd name="connsiteX214" fmla="*/ 2310492 w 9595474"/>
              <a:gd name="connsiteY214" fmla="*/ 1170623 h 6858000"/>
              <a:gd name="connsiteX215" fmla="*/ 2315517 w 9595474"/>
              <a:gd name="connsiteY215" fmla="*/ 1167765 h 6858000"/>
              <a:gd name="connsiteX216" fmla="*/ 2320837 w 9595474"/>
              <a:gd name="connsiteY216" fmla="*/ 1164590 h 6858000"/>
              <a:gd name="connsiteX217" fmla="*/ 2325862 w 9595474"/>
              <a:gd name="connsiteY217" fmla="*/ 1161098 h 6858000"/>
              <a:gd name="connsiteX218" fmla="*/ 2330887 w 9595474"/>
              <a:gd name="connsiteY218" fmla="*/ 1157288 h 6858000"/>
              <a:gd name="connsiteX219" fmla="*/ 2335616 w 9595474"/>
              <a:gd name="connsiteY219" fmla="*/ 1153160 h 6858000"/>
              <a:gd name="connsiteX220" fmla="*/ 2340345 w 9595474"/>
              <a:gd name="connsiteY220" fmla="*/ 1148715 h 6858000"/>
              <a:gd name="connsiteX221" fmla="*/ 2344483 w 9595474"/>
              <a:gd name="connsiteY221" fmla="*/ 1144270 h 6858000"/>
              <a:gd name="connsiteX222" fmla="*/ 2348621 w 9595474"/>
              <a:gd name="connsiteY222" fmla="*/ 1139508 h 6858000"/>
              <a:gd name="connsiteX223" fmla="*/ 2352464 w 9595474"/>
              <a:gd name="connsiteY223" fmla="*/ 1134428 h 6858000"/>
              <a:gd name="connsiteX224" fmla="*/ 2356011 w 9595474"/>
              <a:gd name="connsiteY224" fmla="*/ 1129348 h 6858000"/>
              <a:gd name="connsiteX225" fmla="*/ 2359262 w 9595474"/>
              <a:gd name="connsiteY225" fmla="*/ 1124268 h 6858000"/>
              <a:gd name="connsiteX226" fmla="*/ 2362218 w 9595474"/>
              <a:gd name="connsiteY226" fmla="*/ 1118870 h 6858000"/>
              <a:gd name="connsiteX227" fmla="*/ 2364582 w 9595474"/>
              <a:gd name="connsiteY227" fmla="*/ 1113473 h 6858000"/>
              <a:gd name="connsiteX228" fmla="*/ 2367242 w 9595474"/>
              <a:gd name="connsiteY228" fmla="*/ 1108075 h 6858000"/>
              <a:gd name="connsiteX229" fmla="*/ 2369311 w 9595474"/>
              <a:gd name="connsiteY229" fmla="*/ 1102360 h 6858000"/>
              <a:gd name="connsiteX230" fmla="*/ 2371085 w 9595474"/>
              <a:gd name="connsiteY230" fmla="*/ 1096645 h 6858000"/>
              <a:gd name="connsiteX231" fmla="*/ 2372563 w 9595474"/>
              <a:gd name="connsiteY231" fmla="*/ 1090930 h 6858000"/>
              <a:gd name="connsiteX232" fmla="*/ 2374041 w 9595474"/>
              <a:gd name="connsiteY232" fmla="*/ 1085215 h 6858000"/>
              <a:gd name="connsiteX233" fmla="*/ 2375223 w 9595474"/>
              <a:gd name="connsiteY233" fmla="*/ 1079500 h 6858000"/>
              <a:gd name="connsiteX234" fmla="*/ 2375814 w 9595474"/>
              <a:gd name="connsiteY234" fmla="*/ 1073785 h 6858000"/>
              <a:gd name="connsiteX235" fmla="*/ 2376110 w 9595474"/>
              <a:gd name="connsiteY235" fmla="*/ 1067753 h 6858000"/>
              <a:gd name="connsiteX236" fmla="*/ 2376110 w 9595474"/>
              <a:gd name="connsiteY236" fmla="*/ 1061720 h 6858000"/>
              <a:gd name="connsiteX237" fmla="*/ 2376110 w 9595474"/>
              <a:gd name="connsiteY237" fmla="*/ 1055688 h 6858000"/>
              <a:gd name="connsiteX238" fmla="*/ 2375814 w 9595474"/>
              <a:gd name="connsiteY238" fmla="*/ 1049973 h 6858000"/>
              <a:gd name="connsiteX239" fmla="*/ 2375223 w 9595474"/>
              <a:gd name="connsiteY239" fmla="*/ 1043940 h 6858000"/>
              <a:gd name="connsiteX240" fmla="*/ 2374041 w 9595474"/>
              <a:gd name="connsiteY240" fmla="*/ 1038225 h 6858000"/>
              <a:gd name="connsiteX241" fmla="*/ 2372563 w 9595474"/>
              <a:gd name="connsiteY241" fmla="*/ 1032510 h 6858000"/>
              <a:gd name="connsiteX242" fmla="*/ 2371085 w 9595474"/>
              <a:gd name="connsiteY242" fmla="*/ 1026795 h 6858000"/>
              <a:gd name="connsiteX243" fmla="*/ 2369311 w 9595474"/>
              <a:gd name="connsiteY243" fmla="*/ 1021080 h 6858000"/>
              <a:gd name="connsiteX244" fmla="*/ 2367242 w 9595474"/>
              <a:gd name="connsiteY244" fmla="*/ 1015683 h 6858000"/>
              <a:gd name="connsiteX245" fmla="*/ 2364582 w 9595474"/>
              <a:gd name="connsiteY245" fmla="*/ 1009650 h 6858000"/>
              <a:gd name="connsiteX246" fmla="*/ 2362218 w 9595474"/>
              <a:gd name="connsiteY246" fmla="*/ 1004253 h 6858000"/>
              <a:gd name="connsiteX247" fmla="*/ 2359262 w 9595474"/>
              <a:gd name="connsiteY247" fmla="*/ 998855 h 6858000"/>
              <a:gd name="connsiteX248" fmla="*/ 2356011 w 9595474"/>
              <a:gd name="connsiteY248" fmla="*/ 994093 h 6858000"/>
              <a:gd name="connsiteX249" fmla="*/ 2352464 w 9595474"/>
              <a:gd name="connsiteY249" fmla="*/ 989013 h 6858000"/>
              <a:gd name="connsiteX250" fmla="*/ 2348621 w 9595474"/>
              <a:gd name="connsiteY250" fmla="*/ 983933 h 6858000"/>
              <a:gd name="connsiteX251" fmla="*/ 2344483 w 9595474"/>
              <a:gd name="connsiteY251" fmla="*/ 979170 h 6858000"/>
              <a:gd name="connsiteX252" fmla="*/ 2340345 w 9595474"/>
              <a:gd name="connsiteY252" fmla="*/ 974725 h 6858000"/>
              <a:gd name="connsiteX253" fmla="*/ 2240737 w 9595474"/>
              <a:gd name="connsiteY253" fmla="*/ 875030 h 6858000"/>
              <a:gd name="connsiteX254" fmla="*/ 1991865 w 9595474"/>
              <a:gd name="connsiteY254" fmla="*/ 626428 h 6858000"/>
              <a:gd name="connsiteX255" fmla="*/ 1987431 w 9595474"/>
              <a:gd name="connsiteY255" fmla="*/ 621665 h 6858000"/>
              <a:gd name="connsiteX256" fmla="*/ 1983589 w 9595474"/>
              <a:gd name="connsiteY256" fmla="*/ 616903 h 6858000"/>
              <a:gd name="connsiteX257" fmla="*/ 1979451 w 9595474"/>
              <a:gd name="connsiteY257" fmla="*/ 612140 h 6858000"/>
              <a:gd name="connsiteX258" fmla="*/ 1975904 w 9595474"/>
              <a:gd name="connsiteY258" fmla="*/ 607060 h 6858000"/>
              <a:gd name="connsiteX259" fmla="*/ 1972653 w 9595474"/>
              <a:gd name="connsiteY259" fmla="*/ 601663 h 6858000"/>
              <a:gd name="connsiteX260" fmla="*/ 1969993 w 9595474"/>
              <a:gd name="connsiteY260" fmla="*/ 596265 h 6858000"/>
              <a:gd name="connsiteX261" fmla="*/ 1967037 w 9595474"/>
              <a:gd name="connsiteY261" fmla="*/ 590868 h 6858000"/>
              <a:gd name="connsiteX262" fmla="*/ 1964968 w 9595474"/>
              <a:gd name="connsiteY262" fmla="*/ 585470 h 6858000"/>
              <a:gd name="connsiteX263" fmla="*/ 1962603 w 9595474"/>
              <a:gd name="connsiteY263" fmla="*/ 579755 h 6858000"/>
              <a:gd name="connsiteX264" fmla="*/ 1960830 w 9595474"/>
              <a:gd name="connsiteY264" fmla="*/ 574358 h 6858000"/>
              <a:gd name="connsiteX265" fmla="*/ 1959056 w 9595474"/>
              <a:gd name="connsiteY265" fmla="*/ 568643 h 6858000"/>
              <a:gd name="connsiteX266" fmla="*/ 1958170 w 9595474"/>
              <a:gd name="connsiteY266" fmla="*/ 562610 h 6858000"/>
              <a:gd name="connsiteX267" fmla="*/ 1956987 w 9595474"/>
              <a:gd name="connsiteY267" fmla="*/ 556895 h 6858000"/>
              <a:gd name="connsiteX268" fmla="*/ 1956396 w 9595474"/>
              <a:gd name="connsiteY268" fmla="*/ 551180 h 6858000"/>
              <a:gd name="connsiteX269" fmla="*/ 1955805 w 9595474"/>
              <a:gd name="connsiteY269" fmla="*/ 544830 h 6858000"/>
              <a:gd name="connsiteX270" fmla="*/ 1955805 w 9595474"/>
              <a:gd name="connsiteY270" fmla="*/ 539115 h 6858000"/>
              <a:gd name="connsiteX271" fmla="*/ 1955805 w 9595474"/>
              <a:gd name="connsiteY271" fmla="*/ 533083 h 6858000"/>
              <a:gd name="connsiteX272" fmla="*/ 1956396 w 9595474"/>
              <a:gd name="connsiteY272" fmla="*/ 527368 h 6858000"/>
              <a:gd name="connsiteX273" fmla="*/ 1956987 w 9595474"/>
              <a:gd name="connsiteY273" fmla="*/ 521653 h 6858000"/>
              <a:gd name="connsiteX274" fmla="*/ 1958170 w 9595474"/>
              <a:gd name="connsiteY274" fmla="*/ 515620 h 6858000"/>
              <a:gd name="connsiteX275" fmla="*/ 1959056 w 9595474"/>
              <a:gd name="connsiteY275" fmla="*/ 509588 h 6858000"/>
              <a:gd name="connsiteX276" fmla="*/ 1960830 w 9595474"/>
              <a:gd name="connsiteY276" fmla="*/ 503873 h 6858000"/>
              <a:gd name="connsiteX277" fmla="*/ 1962603 w 9595474"/>
              <a:gd name="connsiteY277" fmla="*/ 498158 h 6858000"/>
              <a:gd name="connsiteX278" fmla="*/ 1964968 w 9595474"/>
              <a:gd name="connsiteY278" fmla="*/ 492760 h 6858000"/>
              <a:gd name="connsiteX279" fmla="*/ 1967037 w 9595474"/>
              <a:gd name="connsiteY279" fmla="*/ 487363 h 6858000"/>
              <a:gd name="connsiteX280" fmla="*/ 1969993 w 9595474"/>
              <a:gd name="connsiteY280" fmla="*/ 481648 h 6858000"/>
              <a:gd name="connsiteX281" fmla="*/ 1972653 w 9595474"/>
              <a:gd name="connsiteY281" fmla="*/ 476568 h 6858000"/>
              <a:gd name="connsiteX282" fmla="*/ 1975904 w 9595474"/>
              <a:gd name="connsiteY282" fmla="*/ 471170 h 6858000"/>
              <a:gd name="connsiteX283" fmla="*/ 1979451 w 9595474"/>
              <a:gd name="connsiteY283" fmla="*/ 466408 h 6858000"/>
              <a:gd name="connsiteX284" fmla="*/ 1983589 w 9595474"/>
              <a:gd name="connsiteY284" fmla="*/ 461328 h 6858000"/>
              <a:gd name="connsiteX285" fmla="*/ 1987431 w 9595474"/>
              <a:gd name="connsiteY285" fmla="*/ 456565 h 6858000"/>
              <a:gd name="connsiteX286" fmla="*/ 1991865 w 9595474"/>
              <a:gd name="connsiteY286" fmla="*/ 451803 h 6858000"/>
              <a:gd name="connsiteX287" fmla="*/ 1996594 w 9595474"/>
              <a:gd name="connsiteY287" fmla="*/ 447675 h 6858000"/>
              <a:gd name="connsiteX288" fmla="*/ 2001028 w 9595474"/>
              <a:gd name="connsiteY288" fmla="*/ 443548 h 6858000"/>
              <a:gd name="connsiteX289" fmla="*/ 2006052 w 9595474"/>
              <a:gd name="connsiteY289" fmla="*/ 439738 h 6858000"/>
              <a:gd name="connsiteX290" fmla="*/ 2011077 w 9595474"/>
              <a:gd name="connsiteY290" fmla="*/ 436245 h 6858000"/>
              <a:gd name="connsiteX291" fmla="*/ 2016102 w 9595474"/>
              <a:gd name="connsiteY291" fmla="*/ 432753 h 6858000"/>
              <a:gd name="connsiteX292" fmla="*/ 2021718 w 9595474"/>
              <a:gd name="connsiteY292" fmla="*/ 429895 h 6858000"/>
              <a:gd name="connsiteX293" fmla="*/ 2027038 w 9595474"/>
              <a:gd name="connsiteY293" fmla="*/ 427355 h 6858000"/>
              <a:gd name="connsiteX294" fmla="*/ 2032654 w 9595474"/>
              <a:gd name="connsiteY294" fmla="*/ 424815 h 6858000"/>
              <a:gd name="connsiteX295" fmla="*/ 2038270 w 9595474"/>
              <a:gd name="connsiteY295" fmla="*/ 422910 h 6858000"/>
              <a:gd name="connsiteX296" fmla="*/ 2043886 w 9595474"/>
              <a:gd name="connsiteY296" fmla="*/ 421005 h 6858000"/>
              <a:gd name="connsiteX297" fmla="*/ 2049502 w 9595474"/>
              <a:gd name="connsiteY297" fmla="*/ 419735 h 6858000"/>
              <a:gd name="connsiteX298" fmla="*/ 2055413 w 9595474"/>
              <a:gd name="connsiteY298" fmla="*/ 418148 h 6858000"/>
              <a:gd name="connsiteX299" fmla="*/ 2061029 w 9595474"/>
              <a:gd name="connsiteY299" fmla="*/ 417195 h 6858000"/>
              <a:gd name="connsiteX300" fmla="*/ 2067236 w 9595474"/>
              <a:gd name="connsiteY300" fmla="*/ 416243 h 6858000"/>
              <a:gd name="connsiteX301" fmla="*/ 2072852 w 9595474"/>
              <a:gd name="connsiteY301" fmla="*/ 415925 h 6858000"/>
              <a:gd name="connsiteX302" fmla="*/ 2079059 w 9595474"/>
              <a:gd name="connsiteY302" fmla="*/ 415925 h 6858000"/>
              <a:gd name="connsiteX303" fmla="*/ 2084970 w 9595474"/>
              <a:gd name="connsiteY303" fmla="*/ 415925 h 6858000"/>
              <a:gd name="connsiteX304" fmla="*/ 2090882 w 9595474"/>
              <a:gd name="connsiteY304" fmla="*/ 416243 h 6858000"/>
              <a:gd name="connsiteX305" fmla="*/ 2096793 w 9595474"/>
              <a:gd name="connsiteY305" fmla="*/ 417195 h 6858000"/>
              <a:gd name="connsiteX306" fmla="*/ 2102409 w 9595474"/>
              <a:gd name="connsiteY306" fmla="*/ 418148 h 6858000"/>
              <a:gd name="connsiteX307" fmla="*/ 2108321 w 9595474"/>
              <a:gd name="connsiteY307" fmla="*/ 419735 h 6858000"/>
              <a:gd name="connsiteX308" fmla="*/ 2113936 w 9595474"/>
              <a:gd name="connsiteY308" fmla="*/ 421005 h 6858000"/>
              <a:gd name="connsiteX309" fmla="*/ 2119552 w 9595474"/>
              <a:gd name="connsiteY309" fmla="*/ 422910 h 6858000"/>
              <a:gd name="connsiteX310" fmla="*/ 2125464 w 9595474"/>
              <a:gd name="connsiteY310" fmla="*/ 424815 h 6858000"/>
              <a:gd name="connsiteX311" fmla="*/ 2130784 w 9595474"/>
              <a:gd name="connsiteY311" fmla="*/ 427355 h 6858000"/>
              <a:gd name="connsiteX312" fmla="*/ 2136104 w 9595474"/>
              <a:gd name="connsiteY312" fmla="*/ 429895 h 6858000"/>
              <a:gd name="connsiteX313" fmla="*/ 2141720 w 9595474"/>
              <a:gd name="connsiteY313" fmla="*/ 432753 h 6858000"/>
              <a:gd name="connsiteX314" fmla="*/ 2146745 w 9595474"/>
              <a:gd name="connsiteY314" fmla="*/ 436245 h 6858000"/>
              <a:gd name="connsiteX315" fmla="*/ 2152065 w 9595474"/>
              <a:gd name="connsiteY315" fmla="*/ 439738 h 6858000"/>
              <a:gd name="connsiteX316" fmla="*/ 2156795 w 9595474"/>
              <a:gd name="connsiteY316" fmla="*/ 443548 h 6858000"/>
              <a:gd name="connsiteX317" fmla="*/ 2161819 w 9595474"/>
              <a:gd name="connsiteY317" fmla="*/ 447675 h 6858000"/>
              <a:gd name="connsiteX318" fmla="*/ 2165957 w 9595474"/>
              <a:gd name="connsiteY318" fmla="*/ 451803 h 6858000"/>
              <a:gd name="connsiteX319" fmla="*/ 2966073 w 9595474"/>
              <a:gd name="connsiteY319" fmla="*/ 1251903 h 6858000"/>
              <a:gd name="connsiteX320" fmla="*/ 5612631 w 9595474"/>
              <a:gd name="connsiteY320" fmla="*/ 3898583 h 6858000"/>
              <a:gd name="connsiteX321" fmla="*/ 5617360 w 9595474"/>
              <a:gd name="connsiteY321" fmla="*/ 3903345 h 6858000"/>
              <a:gd name="connsiteX322" fmla="*/ 5621498 w 9595474"/>
              <a:gd name="connsiteY322" fmla="*/ 3908425 h 6858000"/>
              <a:gd name="connsiteX323" fmla="*/ 5625341 w 9595474"/>
              <a:gd name="connsiteY323" fmla="*/ 3913505 h 6858000"/>
              <a:gd name="connsiteX324" fmla="*/ 5628888 w 9595474"/>
              <a:gd name="connsiteY324" fmla="*/ 3918585 h 6858000"/>
              <a:gd name="connsiteX325" fmla="*/ 5632139 w 9595474"/>
              <a:gd name="connsiteY325" fmla="*/ 3923348 h 6858000"/>
              <a:gd name="connsiteX326" fmla="*/ 5635094 w 9595474"/>
              <a:gd name="connsiteY326" fmla="*/ 3928745 h 6858000"/>
              <a:gd name="connsiteX327" fmla="*/ 5638050 w 9595474"/>
              <a:gd name="connsiteY327" fmla="*/ 3934460 h 6858000"/>
              <a:gd name="connsiteX328" fmla="*/ 5640415 w 9595474"/>
              <a:gd name="connsiteY328" fmla="*/ 3939858 h 6858000"/>
              <a:gd name="connsiteX329" fmla="*/ 5642484 w 9595474"/>
              <a:gd name="connsiteY329" fmla="*/ 3945890 h 6858000"/>
              <a:gd name="connsiteX330" fmla="*/ 5644257 w 9595474"/>
              <a:gd name="connsiteY330" fmla="*/ 3951605 h 6858000"/>
              <a:gd name="connsiteX331" fmla="*/ 5645735 w 9595474"/>
              <a:gd name="connsiteY331" fmla="*/ 3957320 h 6858000"/>
              <a:gd name="connsiteX332" fmla="*/ 5647213 w 9595474"/>
              <a:gd name="connsiteY332" fmla="*/ 3963353 h 6858000"/>
              <a:gd name="connsiteX333" fmla="*/ 5648100 w 9595474"/>
              <a:gd name="connsiteY333" fmla="*/ 3969068 h 6858000"/>
              <a:gd name="connsiteX334" fmla="*/ 5648691 w 9595474"/>
              <a:gd name="connsiteY334" fmla="*/ 3975100 h 6858000"/>
              <a:gd name="connsiteX335" fmla="*/ 5649282 w 9595474"/>
              <a:gd name="connsiteY335" fmla="*/ 3980815 h 6858000"/>
              <a:gd name="connsiteX336" fmla="*/ 5649282 w 9595474"/>
              <a:gd name="connsiteY336" fmla="*/ 3987165 h 6858000"/>
              <a:gd name="connsiteX337" fmla="*/ 5649282 w 9595474"/>
              <a:gd name="connsiteY337" fmla="*/ 3992880 h 6858000"/>
              <a:gd name="connsiteX338" fmla="*/ 5648691 w 9595474"/>
              <a:gd name="connsiteY338" fmla="*/ 3998913 h 6858000"/>
              <a:gd name="connsiteX339" fmla="*/ 5648100 w 9595474"/>
              <a:gd name="connsiteY339" fmla="*/ 4004945 h 6858000"/>
              <a:gd name="connsiteX340" fmla="*/ 5647213 w 9595474"/>
              <a:gd name="connsiteY340" fmla="*/ 4010660 h 6858000"/>
              <a:gd name="connsiteX341" fmla="*/ 5645735 w 9595474"/>
              <a:gd name="connsiteY341" fmla="*/ 4016375 h 6858000"/>
              <a:gd name="connsiteX342" fmla="*/ 5644257 w 9595474"/>
              <a:gd name="connsiteY342" fmla="*/ 4022725 h 6858000"/>
              <a:gd name="connsiteX343" fmla="*/ 5642484 w 9595474"/>
              <a:gd name="connsiteY343" fmla="*/ 4028440 h 6858000"/>
              <a:gd name="connsiteX344" fmla="*/ 5640415 w 9595474"/>
              <a:gd name="connsiteY344" fmla="*/ 4033838 h 6858000"/>
              <a:gd name="connsiteX345" fmla="*/ 5638050 w 9595474"/>
              <a:gd name="connsiteY345" fmla="*/ 4039553 h 6858000"/>
              <a:gd name="connsiteX346" fmla="*/ 5635094 w 9595474"/>
              <a:gd name="connsiteY346" fmla="*/ 4044950 h 6858000"/>
              <a:gd name="connsiteX347" fmla="*/ 5632139 w 9595474"/>
              <a:gd name="connsiteY347" fmla="*/ 4050348 h 6858000"/>
              <a:gd name="connsiteX348" fmla="*/ 5628888 w 9595474"/>
              <a:gd name="connsiteY348" fmla="*/ 4055745 h 6858000"/>
              <a:gd name="connsiteX349" fmla="*/ 5625341 w 9595474"/>
              <a:gd name="connsiteY349" fmla="*/ 4060825 h 6858000"/>
              <a:gd name="connsiteX350" fmla="*/ 5621498 w 9595474"/>
              <a:gd name="connsiteY350" fmla="*/ 4065588 h 6858000"/>
              <a:gd name="connsiteX351" fmla="*/ 5617360 w 9595474"/>
              <a:gd name="connsiteY351" fmla="*/ 4070350 h 6858000"/>
              <a:gd name="connsiteX352" fmla="*/ 5612631 w 9595474"/>
              <a:gd name="connsiteY352" fmla="*/ 4075113 h 6858000"/>
              <a:gd name="connsiteX353" fmla="*/ 5608198 w 9595474"/>
              <a:gd name="connsiteY353" fmla="*/ 4079875 h 6858000"/>
              <a:gd name="connsiteX354" fmla="*/ 5603468 w 9595474"/>
              <a:gd name="connsiteY354" fmla="*/ 4083685 h 6858000"/>
              <a:gd name="connsiteX355" fmla="*/ 5598443 w 9595474"/>
              <a:gd name="connsiteY355" fmla="*/ 4087495 h 6858000"/>
              <a:gd name="connsiteX356" fmla="*/ 5593419 w 9595474"/>
              <a:gd name="connsiteY356" fmla="*/ 4091305 h 6858000"/>
              <a:gd name="connsiteX357" fmla="*/ 5588098 w 9595474"/>
              <a:gd name="connsiteY357" fmla="*/ 4094480 h 6858000"/>
              <a:gd name="connsiteX358" fmla="*/ 5582482 w 9595474"/>
              <a:gd name="connsiteY358" fmla="*/ 4097338 h 6858000"/>
              <a:gd name="connsiteX359" fmla="*/ 5577162 w 9595474"/>
              <a:gd name="connsiteY359" fmla="*/ 4100195 h 6858000"/>
              <a:gd name="connsiteX360" fmla="*/ 5571842 w 9595474"/>
              <a:gd name="connsiteY360" fmla="*/ 4102418 h 6858000"/>
              <a:gd name="connsiteX361" fmla="*/ 5565931 w 9595474"/>
              <a:gd name="connsiteY361" fmla="*/ 4104640 h 6858000"/>
              <a:gd name="connsiteX362" fmla="*/ 5560315 w 9595474"/>
              <a:gd name="connsiteY362" fmla="*/ 4106545 h 6858000"/>
              <a:gd name="connsiteX363" fmla="*/ 5554699 w 9595474"/>
              <a:gd name="connsiteY363" fmla="*/ 4108133 h 6858000"/>
              <a:gd name="connsiteX364" fmla="*/ 5548492 w 9595474"/>
              <a:gd name="connsiteY364" fmla="*/ 4109403 h 6858000"/>
              <a:gd name="connsiteX365" fmla="*/ 5542580 w 9595474"/>
              <a:gd name="connsiteY365" fmla="*/ 4110355 h 6858000"/>
              <a:gd name="connsiteX366" fmla="*/ 5536669 w 9595474"/>
              <a:gd name="connsiteY366" fmla="*/ 4110990 h 6858000"/>
              <a:gd name="connsiteX367" fmla="*/ 5530758 w 9595474"/>
              <a:gd name="connsiteY367" fmla="*/ 4111308 h 6858000"/>
              <a:gd name="connsiteX368" fmla="*/ 5524846 w 9595474"/>
              <a:gd name="connsiteY368" fmla="*/ 4111625 h 6858000"/>
              <a:gd name="connsiteX369" fmla="*/ 5518639 w 9595474"/>
              <a:gd name="connsiteY369" fmla="*/ 4111308 h 6858000"/>
              <a:gd name="connsiteX370" fmla="*/ 5513023 w 9595474"/>
              <a:gd name="connsiteY370" fmla="*/ 4110990 h 6858000"/>
              <a:gd name="connsiteX371" fmla="*/ 5506816 w 9595474"/>
              <a:gd name="connsiteY371" fmla="*/ 4110355 h 6858000"/>
              <a:gd name="connsiteX372" fmla="*/ 5501200 w 9595474"/>
              <a:gd name="connsiteY372" fmla="*/ 4109403 h 6858000"/>
              <a:gd name="connsiteX373" fmla="*/ 5494993 w 9595474"/>
              <a:gd name="connsiteY373" fmla="*/ 4108133 h 6858000"/>
              <a:gd name="connsiteX374" fmla="*/ 5489081 w 9595474"/>
              <a:gd name="connsiteY374" fmla="*/ 4106545 h 6858000"/>
              <a:gd name="connsiteX375" fmla="*/ 5483466 w 9595474"/>
              <a:gd name="connsiteY375" fmla="*/ 4104640 h 6858000"/>
              <a:gd name="connsiteX376" fmla="*/ 5477850 w 9595474"/>
              <a:gd name="connsiteY376" fmla="*/ 4102418 h 6858000"/>
              <a:gd name="connsiteX377" fmla="*/ 5472234 w 9595474"/>
              <a:gd name="connsiteY377" fmla="*/ 4100195 h 6858000"/>
              <a:gd name="connsiteX378" fmla="*/ 5466913 w 9595474"/>
              <a:gd name="connsiteY378" fmla="*/ 4097338 h 6858000"/>
              <a:gd name="connsiteX379" fmla="*/ 5461593 w 9595474"/>
              <a:gd name="connsiteY379" fmla="*/ 4094480 h 6858000"/>
              <a:gd name="connsiteX380" fmla="*/ 5456273 w 9595474"/>
              <a:gd name="connsiteY380" fmla="*/ 4091305 h 6858000"/>
              <a:gd name="connsiteX381" fmla="*/ 5451248 w 9595474"/>
              <a:gd name="connsiteY381" fmla="*/ 4087495 h 6858000"/>
              <a:gd name="connsiteX382" fmla="*/ 5446223 w 9595474"/>
              <a:gd name="connsiteY382" fmla="*/ 4083685 h 6858000"/>
              <a:gd name="connsiteX383" fmla="*/ 5441495 w 9595474"/>
              <a:gd name="connsiteY383" fmla="*/ 4079875 h 6858000"/>
              <a:gd name="connsiteX384" fmla="*/ 5436765 w 9595474"/>
              <a:gd name="connsiteY384" fmla="*/ 4075113 h 6858000"/>
              <a:gd name="connsiteX385" fmla="*/ 5322379 w 9595474"/>
              <a:gd name="connsiteY385" fmla="*/ 3960813 h 6858000"/>
              <a:gd name="connsiteX386" fmla="*/ 5317945 w 9595474"/>
              <a:gd name="connsiteY386" fmla="*/ 3956368 h 6858000"/>
              <a:gd name="connsiteX387" fmla="*/ 5312921 w 9595474"/>
              <a:gd name="connsiteY387" fmla="*/ 3952240 h 6858000"/>
              <a:gd name="connsiteX388" fmla="*/ 5307896 w 9595474"/>
              <a:gd name="connsiteY388" fmla="*/ 3948748 h 6858000"/>
              <a:gd name="connsiteX389" fmla="*/ 5302871 w 9595474"/>
              <a:gd name="connsiteY389" fmla="*/ 3944938 h 6858000"/>
              <a:gd name="connsiteX390" fmla="*/ 5297255 w 9595474"/>
              <a:gd name="connsiteY390" fmla="*/ 3941763 h 6858000"/>
              <a:gd name="connsiteX391" fmla="*/ 5292230 w 9595474"/>
              <a:gd name="connsiteY391" fmla="*/ 3938588 h 6858000"/>
              <a:gd name="connsiteX392" fmla="*/ 5286615 w 9595474"/>
              <a:gd name="connsiteY392" fmla="*/ 3936048 h 6858000"/>
              <a:gd name="connsiteX393" fmla="*/ 5281294 w 9595474"/>
              <a:gd name="connsiteY393" fmla="*/ 3933508 h 6858000"/>
              <a:gd name="connsiteX394" fmla="*/ 5275383 w 9595474"/>
              <a:gd name="connsiteY394" fmla="*/ 3931285 h 6858000"/>
              <a:gd name="connsiteX395" fmla="*/ 5269767 w 9595474"/>
              <a:gd name="connsiteY395" fmla="*/ 3929698 h 6858000"/>
              <a:gd name="connsiteX396" fmla="*/ 5263855 w 9595474"/>
              <a:gd name="connsiteY396" fmla="*/ 3927793 h 6858000"/>
              <a:gd name="connsiteX397" fmla="*/ 5257944 w 9595474"/>
              <a:gd name="connsiteY397" fmla="*/ 3926840 h 6858000"/>
              <a:gd name="connsiteX398" fmla="*/ 5252033 w 9595474"/>
              <a:gd name="connsiteY398" fmla="*/ 3925570 h 6858000"/>
              <a:gd name="connsiteX399" fmla="*/ 5246121 w 9595474"/>
              <a:gd name="connsiteY399" fmla="*/ 3924935 h 6858000"/>
              <a:gd name="connsiteX400" fmla="*/ 5240210 w 9595474"/>
              <a:gd name="connsiteY400" fmla="*/ 3924618 h 6858000"/>
              <a:gd name="connsiteX401" fmla="*/ 5234298 w 9595474"/>
              <a:gd name="connsiteY401" fmla="*/ 3924618 h 6858000"/>
              <a:gd name="connsiteX402" fmla="*/ 5228091 w 9595474"/>
              <a:gd name="connsiteY402" fmla="*/ 3924618 h 6858000"/>
              <a:gd name="connsiteX403" fmla="*/ 5222180 w 9595474"/>
              <a:gd name="connsiteY403" fmla="*/ 3924935 h 6858000"/>
              <a:gd name="connsiteX404" fmla="*/ 5216268 w 9595474"/>
              <a:gd name="connsiteY404" fmla="*/ 3925570 h 6858000"/>
              <a:gd name="connsiteX405" fmla="*/ 5210357 w 9595474"/>
              <a:gd name="connsiteY405" fmla="*/ 3926840 h 6858000"/>
              <a:gd name="connsiteX406" fmla="*/ 5204741 w 9595474"/>
              <a:gd name="connsiteY406" fmla="*/ 3927793 h 6858000"/>
              <a:gd name="connsiteX407" fmla="*/ 5198534 w 9595474"/>
              <a:gd name="connsiteY407" fmla="*/ 3929698 h 6858000"/>
              <a:gd name="connsiteX408" fmla="*/ 5192918 w 9595474"/>
              <a:gd name="connsiteY408" fmla="*/ 3931285 h 6858000"/>
              <a:gd name="connsiteX409" fmla="*/ 5187598 w 9595474"/>
              <a:gd name="connsiteY409" fmla="*/ 3933508 h 6858000"/>
              <a:gd name="connsiteX410" fmla="*/ 5181686 w 9595474"/>
              <a:gd name="connsiteY410" fmla="*/ 3936048 h 6858000"/>
              <a:gd name="connsiteX411" fmla="*/ 5176366 w 9595474"/>
              <a:gd name="connsiteY411" fmla="*/ 3938588 h 6858000"/>
              <a:gd name="connsiteX412" fmla="*/ 5171046 w 9595474"/>
              <a:gd name="connsiteY412" fmla="*/ 3941763 h 6858000"/>
              <a:gd name="connsiteX413" fmla="*/ 5165430 w 9595474"/>
              <a:gd name="connsiteY413" fmla="*/ 3944938 h 6858000"/>
              <a:gd name="connsiteX414" fmla="*/ 5160405 w 9595474"/>
              <a:gd name="connsiteY414" fmla="*/ 3948748 h 6858000"/>
              <a:gd name="connsiteX415" fmla="*/ 5155380 w 9595474"/>
              <a:gd name="connsiteY415" fmla="*/ 3952240 h 6858000"/>
              <a:gd name="connsiteX416" fmla="*/ 5150947 w 9595474"/>
              <a:gd name="connsiteY416" fmla="*/ 3956368 h 6858000"/>
              <a:gd name="connsiteX417" fmla="*/ 5146218 w 9595474"/>
              <a:gd name="connsiteY417" fmla="*/ 3960813 h 6858000"/>
              <a:gd name="connsiteX418" fmla="*/ 5141488 w 9595474"/>
              <a:gd name="connsiteY418" fmla="*/ 3965575 h 6858000"/>
              <a:gd name="connsiteX419" fmla="*/ 5137646 w 9595474"/>
              <a:gd name="connsiteY419" fmla="*/ 3970655 h 6858000"/>
              <a:gd name="connsiteX420" fmla="*/ 5133508 w 9595474"/>
              <a:gd name="connsiteY420" fmla="*/ 3975100 h 6858000"/>
              <a:gd name="connsiteX421" fmla="*/ 5129961 w 9595474"/>
              <a:gd name="connsiteY421" fmla="*/ 3980498 h 6858000"/>
              <a:gd name="connsiteX422" fmla="*/ 5126710 w 9595474"/>
              <a:gd name="connsiteY422" fmla="*/ 3985578 h 6858000"/>
              <a:gd name="connsiteX423" fmla="*/ 5123754 w 9595474"/>
              <a:gd name="connsiteY423" fmla="*/ 3990975 h 6858000"/>
              <a:gd name="connsiteX424" fmla="*/ 5121094 w 9595474"/>
              <a:gd name="connsiteY424" fmla="*/ 3996373 h 6858000"/>
              <a:gd name="connsiteX425" fmla="*/ 5118729 w 9595474"/>
              <a:gd name="connsiteY425" fmla="*/ 4002088 h 6858000"/>
              <a:gd name="connsiteX426" fmla="*/ 5116660 w 9595474"/>
              <a:gd name="connsiteY426" fmla="*/ 4007803 h 6858000"/>
              <a:gd name="connsiteX427" fmla="*/ 5114591 w 9595474"/>
              <a:gd name="connsiteY427" fmla="*/ 4013518 h 6858000"/>
              <a:gd name="connsiteX428" fmla="*/ 5113113 w 9595474"/>
              <a:gd name="connsiteY428" fmla="*/ 4019233 h 6858000"/>
              <a:gd name="connsiteX429" fmla="*/ 5111636 w 9595474"/>
              <a:gd name="connsiteY429" fmla="*/ 4025265 h 6858000"/>
              <a:gd name="connsiteX430" fmla="*/ 5111044 w 9595474"/>
              <a:gd name="connsiteY430" fmla="*/ 4031298 h 6858000"/>
              <a:gd name="connsiteX431" fmla="*/ 5110158 w 9595474"/>
              <a:gd name="connsiteY431" fmla="*/ 4037013 h 6858000"/>
              <a:gd name="connsiteX432" fmla="*/ 5109862 w 9595474"/>
              <a:gd name="connsiteY432" fmla="*/ 4043045 h 6858000"/>
              <a:gd name="connsiteX433" fmla="*/ 5109567 w 9595474"/>
              <a:gd name="connsiteY433" fmla="*/ 4049078 h 6858000"/>
              <a:gd name="connsiteX434" fmla="*/ 5109862 w 9595474"/>
              <a:gd name="connsiteY434" fmla="*/ 4055110 h 6858000"/>
              <a:gd name="connsiteX435" fmla="*/ 5110158 w 9595474"/>
              <a:gd name="connsiteY435" fmla="*/ 4061143 h 6858000"/>
              <a:gd name="connsiteX436" fmla="*/ 5111044 w 9595474"/>
              <a:gd name="connsiteY436" fmla="*/ 4066858 h 6858000"/>
              <a:gd name="connsiteX437" fmla="*/ 5111636 w 9595474"/>
              <a:gd name="connsiteY437" fmla="*/ 4072890 h 6858000"/>
              <a:gd name="connsiteX438" fmla="*/ 5113113 w 9595474"/>
              <a:gd name="connsiteY438" fmla="*/ 4078605 h 6858000"/>
              <a:gd name="connsiteX439" fmla="*/ 5114591 w 9595474"/>
              <a:gd name="connsiteY439" fmla="*/ 4084320 h 6858000"/>
              <a:gd name="connsiteX440" fmla="*/ 5116660 w 9595474"/>
              <a:gd name="connsiteY440" fmla="*/ 4090035 h 6858000"/>
              <a:gd name="connsiteX441" fmla="*/ 5118729 w 9595474"/>
              <a:gd name="connsiteY441" fmla="*/ 4095750 h 6858000"/>
              <a:gd name="connsiteX442" fmla="*/ 5121094 w 9595474"/>
              <a:gd name="connsiteY442" fmla="*/ 4101783 h 6858000"/>
              <a:gd name="connsiteX443" fmla="*/ 5123754 w 9595474"/>
              <a:gd name="connsiteY443" fmla="*/ 4107180 h 6858000"/>
              <a:gd name="connsiteX444" fmla="*/ 5126710 w 9595474"/>
              <a:gd name="connsiteY444" fmla="*/ 4112578 h 6858000"/>
              <a:gd name="connsiteX445" fmla="*/ 5129961 w 9595474"/>
              <a:gd name="connsiteY445" fmla="*/ 4117975 h 6858000"/>
              <a:gd name="connsiteX446" fmla="*/ 5133508 w 9595474"/>
              <a:gd name="connsiteY446" fmla="*/ 4122738 h 6858000"/>
              <a:gd name="connsiteX447" fmla="*/ 5137646 w 9595474"/>
              <a:gd name="connsiteY447" fmla="*/ 4127818 h 6858000"/>
              <a:gd name="connsiteX448" fmla="*/ 5141488 w 9595474"/>
              <a:gd name="connsiteY448" fmla="*/ 4132580 h 6858000"/>
              <a:gd name="connsiteX449" fmla="*/ 5146218 w 9595474"/>
              <a:gd name="connsiteY449" fmla="*/ 4137343 h 6858000"/>
              <a:gd name="connsiteX450" fmla="*/ 5870075 w 9595474"/>
              <a:gd name="connsiteY450" fmla="*/ 4860925 h 6858000"/>
              <a:gd name="connsiteX451" fmla="*/ 5874509 w 9595474"/>
              <a:gd name="connsiteY451" fmla="*/ 4865688 h 6858000"/>
              <a:gd name="connsiteX452" fmla="*/ 5878646 w 9595474"/>
              <a:gd name="connsiteY452" fmla="*/ 4870768 h 6858000"/>
              <a:gd name="connsiteX453" fmla="*/ 5882489 w 9595474"/>
              <a:gd name="connsiteY453" fmla="*/ 4875848 h 6858000"/>
              <a:gd name="connsiteX454" fmla="*/ 5886036 w 9595474"/>
              <a:gd name="connsiteY454" fmla="*/ 4880928 h 6858000"/>
              <a:gd name="connsiteX455" fmla="*/ 5889287 w 9595474"/>
              <a:gd name="connsiteY455" fmla="*/ 4885690 h 6858000"/>
              <a:gd name="connsiteX456" fmla="*/ 5892243 w 9595474"/>
              <a:gd name="connsiteY456" fmla="*/ 4891088 h 6858000"/>
              <a:gd name="connsiteX457" fmla="*/ 5895199 w 9595474"/>
              <a:gd name="connsiteY457" fmla="*/ 4897120 h 6858000"/>
              <a:gd name="connsiteX458" fmla="*/ 5897268 w 9595474"/>
              <a:gd name="connsiteY458" fmla="*/ 4902518 h 6858000"/>
              <a:gd name="connsiteX459" fmla="*/ 5899336 w 9595474"/>
              <a:gd name="connsiteY459" fmla="*/ 4908233 h 6858000"/>
              <a:gd name="connsiteX460" fmla="*/ 5901701 w 9595474"/>
              <a:gd name="connsiteY460" fmla="*/ 4913948 h 6858000"/>
              <a:gd name="connsiteX461" fmla="*/ 5902883 w 9595474"/>
              <a:gd name="connsiteY461" fmla="*/ 4919663 h 6858000"/>
              <a:gd name="connsiteX462" fmla="*/ 5904066 w 9595474"/>
              <a:gd name="connsiteY462" fmla="*/ 4925695 h 6858000"/>
              <a:gd name="connsiteX463" fmla="*/ 5905248 w 9595474"/>
              <a:gd name="connsiteY463" fmla="*/ 4931410 h 6858000"/>
              <a:gd name="connsiteX464" fmla="*/ 5905840 w 9595474"/>
              <a:gd name="connsiteY464" fmla="*/ 4937443 h 6858000"/>
              <a:gd name="connsiteX465" fmla="*/ 5906135 w 9595474"/>
              <a:gd name="connsiteY465" fmla="*/ 4943475 h 6858000"/>
              <a:gd name="connsiteX466" fmla="*/ 5906726 w 9595474"/>
              <a:gd name="connsiteY466" fmla="*/ 4949508 h 6858000"/>
              <a:gd name="connsiteX467" fmla="*/ 5906135 w 9595474"/>
              <a:gd name="connsiteY467" fmla="*/ 4955223 h 6858000"/>
              <a:gd name="connsiteX468" fmla="*/ 5905840 w 9595474"/>
              <a:gd name="connsiteY468" fmla="*/ 4961255 h 6858000"/>
              <a:gd name="connsiteX469" fmla="*/ 5905248 w 9595474"/>
              <a:gd name="connsiteY469" fmla="*/ 4967288 h 6858000"/>
              <a:gd name="connsiteX470" fmla="*/ 5904066 w 9595474"/>
              <a:gd name="connsiteY470" fmla="*/ 4973003 h 6858000"/>
              <a:gd name="connsiteX471" fmla="*/ 5902883 w 9595474"/>
              <a:gd name="connsiteY471" fmla="*/ 4979035 h 6858000"/>
              <a:gd name="connsiteX472" fmla="*/ 5901701 w 9595474"/>
              <a:gd name="connsiteY472" fmla="*/ 4985068 h 6858000"/>
              <a:gd name="connsiteX473" fmla="*/ 5899336 w 9595474"/>
              <a:gd name="connsiteY473" fmla="*/ 4990783 h 6858000"/>
              <a:gd name="connsiteX474" fmla="*/ 5897268 w 9595474"/>
              <a:gd name="connsiteY474" fmla="*/ 4996180 h 6858000"/>
              <a:gd name="connsiteX475" fmla="*/ 5895199 w 9595474"/>
              <a:gd name="connsiteY475" fmla="*/ 5001895 h 6858000"/>
              <a:gd name="connsiteX476" fmla="*/ 5892243 w 9595474"/>
              <a:gd name="connsiteY476" fmla="*/ 5007293 h 6858000"/>
              <a:gd name="connsiteX477" fmla="*/ 5889287 w 9595474"/>
              <a:gd name="connsiteY477" fmla="*/ 5012690 h 6858000"/>
              <a:gd name="connsiteX478" fmla="*/ 5886036 w 9595474"/>
              <a:gd name="connsiteY478" fmla="*/ 5018088 h 6858000"/>
              <a:gd name="connsiteX479" fmla="*/ 5882489 w 9595474"/>
              <a:gd name="connsiteY479" fmla="*/ 5023168 h 6858000"/>
              <a:gd name="connsiteX480" fmla="*/ 5878646 w 9595474"/>
              <a:gd name="connsiteY480" fmla="*/ 5028248 h 6858000"/>
              <a:gd name="connsiteX481" fmla="*/ 5874509 w 9595474"/>
              <a:gd name="connsiteY481" fmla="*/ 5032693 h 6858000"/>
              <a:gd name="connsiteX482" fmla="*/ 5870075 w 9595474"/>
              <a:gd name="connsiteY482" fmla="*/ 5037455 h 6858000"/>
              <a:gd name="connsiteX483" fmla="*/ 5865346 w 9595474"/>
              <a:gd name="connsiteY483" fmla="*/ 5041900 h 6858000"/>
              <a:gd name="connsiteX484" fmla="*/ 5860617 w 9595474"/>
              <a:gd name="connsiteY484" fmla="*/ 5046028 h 6858000"/>
              <a:gd name="connsiteX485" fmla="*/ 5855592 w 9595474"/>
              <a:gd name="connsiteY485" fmla="*/ 5050155 h 6858000"/>
              <a:gd name="connsiteX486" fmla="*/ 5850567 w 9595474"/>
              <a:gd name="connsiteY486" fmla="*/ 5053648 h 6858000"/>
              <a:gd name="connsiteX487" fmla="*/ 5845247 w 9595474"/>
              <a:gd name="connsiteY487" fmla="*/ 5056823 h 6858000"/>
              <a:gd name="connsiteX488" fmla="*/ 5839926 w 9595474"/>
              <a:gd name="connsiteY488" fmla="*/ 5059680 h 6858000"/>
              <a:gd name="connsiteX489" fmla="*/ 5834311 w 9595474"/>
              <a:gd name="connsiteY489" fmla="*/ 5062538 h 6858000"/>
              <a:gd name="connsiteX490" fmla="*/ 5828695 w 9595474"/>
              <a:gd name="connsiteY490" fmla="*/ 5064760 h 6858000"/>
              <a:gd name="connsiteX491" fmla="*/ 5823375 w 9595474"/>
              <a:gd name="connsiteY491" fmla="*/ 5066983 h 6858000"/>
              <a:gd name="connsiteX492" fmla="*/ 5817463 w 9595474"/>
              <a:gd name="connsiteY492" fmla="*/ 5069205 h 6858000"/>
              <a:gd name="connsiteX493" fmla="*/ 5811552 w 9595474"/>
              <a:gd name="connsiteY493" fmla="*/ 5070475 h 6858000"/>
              <a:gd name="connsiteX494" fmla="*/ 5805640 w 9595474"/>
              <a:gd name="connsiteY494" fmla="*/ 5071428 h 6858000"/>
              <a:gd name="connsiteX495" fmla="*/ 5800024 w 9595474"/>
              <a:gd name="connsiteY495" fmla="*/ 5072698 h 6858000"/>
              <a:gd name="connsiteX496" fmla="*/ 5793817 w 9595474"/>
              <a:gd name="connsiteY496" fmla="*/ 5073333 h 6858000"/>
              <a:gd name="connsiteX497" fmla="*/ 5787610 w 9595474"/>
              <a:gd name="connsiteY497" fmla="*/ 5073650 h 6858000"/>
              <a:gd name="connsiteX498" fmla="*/ 5781994 w 9595474"/>
              <a:gd name="connsiteY498" fmla="*/ 5073968 h 6858000"/>
              <a:gd name="connsiteX499" fmla="*/ 5775787 w 9595474"/>
              <a:gd name="connsiteY499" fmla="*/ 5073650 h 6858000"/>
              <a:gd name="connsiteX500" fmla="*/ 5770171 w 9595474"/>
              <a:gd name="connsiteY500" fmla="*/ 5073333 h 6858000"/>
              <a:gd name="connsiteX501" fmla="*/ 5763965 w 9595474"/>
              <a:gd name="connsiteY501" fmla="*/ 5072698 h 6858000"/>
              <a:gd name="connsiteX502" fmla="*/ 5758349 w 9595474"/>
              <a:gd name="connsiteY502" fmla="*/ 5071428 h 6858000"/>
              <a:gd name="connsiteX503" fmla="*/ 5752141 w 9595474"/>
              <a:gd name="connsiteY503" fmla="*/ 5070475 h 6858000"/>
              <a:gd name="connsiteX504" fmla="*/ 5746526 w 9595474"/>
              <a:gd name="connsiteY504" fmla="*/ 5069205 h 6858000"/>
              <a:gd name="connsiteX505" fmla="*/ 5740614 w 9595474"/>
              <a:gd name="connsiteY505" fmla="*/ 5066983 h 6858000"/>
              <a:gd name="connsiteX506" fmla="*/ 5734998 w 9595474"/>
              <a:gd name="connsiteY506" fmla="*/ 5064760 h 6858000"/>
              <a:gd name="connsiteX507" fmla="*/ 5729382 w 9595474"/>
              <a:gd name="connsiteY507" fmla="*/ 5062538 h 6858000"/>
              <a:gd name="connsiteX508" fmla="*/ 5723767 w 9595474"/>
              <a:gd name="connsiteY508" fmla="*/ 5059680 h 6858000"/>
              <a:gd name="connsiteX509" fmla="*/ 5718446 w 9595474"/>
              <a:gd name="connsiteY509" fmla="*/ 5056823 h 6858000"/>
              <a:gd name="connsiteX510" fmla="*/ 5713421 w 9595474"/>
              <a:gd name="connsiteY510" fmla="*/ 5053648 h 6858000"/>
              <a:gd name="connsiteX511" fmla="*/ 5708396 w 9595474"/>
              <a:gd name="connsiteY511" fmla="*/ 5050155 h 6858000"/>
              <a:gd name="connsiteX512" fmla="*/ 5703372 w 9595474"/>
              <a:gd name="connsiteY512" fmla="*/ 5046028 h 6858000"/>
              <a:gd name="connsiteX513" fmla="*/ 5698347 w 9595474"/>
              <a:gd name="connsiteY513" fmla="*/ 5041900 h 6858000"/>
              <a:gd name="connsiteX514" fmla="*/ 5693618 w 9595474"/>
              <a:gd name="connsiteY514" fmla="*/ 5037455 h 6858000"/>
              <a:gd name="connsiteX515" fmla="*/ 5598148 w 9595474"/>
              <a:gd name="connsiteY515" fmla="*/ 4941888 h 6858000"/>
              <a:gd name="connsiteX516" fmla="*/ 5490560 w 9595474"/>
              <a:gd name="connsiteY516" fmla="*/ 4834573 h 6858000"/>
              <a:gd name="connsiteX517" fmla="*/ 5485830 w 9595474"/>
              <a:gd name="connsiteY517" fmla="*/ 4830128 h 6858000"/>
              <a:gd name="connsiteX518" fmla="*/ 5481397 w 9595474"/>
              <a:gd name="connsiteY518" fmla="*/ 4826000 h 6858000"/>
              <a:gd name="connsiteX519" fmla="*/ 5476372 w 9595474"/>
              <a:gd name="connsiteY519" fmla="*/ 4821873 h 6858000"/>
              <a:gd name="connsiteX520" fmla="*/ 5471348 w 9595474"/>
              <a:gd name="connsiteY520" fmla="*/ 4818380 h 6858000"/>
              <a:gd name="connsiteX521" fmla="*/ 5465732 w 9595474"/>
              <a:gd name="connsiteY521" fmla="*/ 4815205 h 6858000"/>
              <a:gd name="connsiteX522" fmla="*/ 5460411 w 9595474"/>
              <a:gd name="connsiteY522" fmla="*/ 4812348 h 6858000"/>
              <a:gd name="connsiteX523" fmla="*/ 5455091 w 9595474"/>
              <a:gd name="connsiteY523" fmla="*/ 4809173 h 6858000"/>
              <a:gd name="connsiteX524" fmla="*/ 5449475 w 9595474"/>
              <a:gd name="connsiteY524" fmla="*/ 4807268 h 6858000"/>
              <a:gd name="connsiteX525" fmla="*/ 5443563 w 9595474"/>
              <a:gd name="connsiteY525" fmla="*/ 4805045 h 6858000"/>
              <a:gd name="connsiteX526" fmla="*/ 5437948 w 9595474"/>
              <a:gd name="connsiteY526" fmla="*/ 4802823 h 6858000"/>
              <a:gd name="connsiteX527" fmla="*/ 5432036 w 9595474"/>
              <a:gd name="connsiteY527" fmla="*/ 4801553 h 6858000"/>
              <a:gd name="connsiteX528" fmla="*/ 5426420 w 9595474"/>
              <a:gd name="connsiteY528" fmla="*/ 4800283 h 6858000"/>
              <a:gd name="connsiteX529" fmla="*/ 5420509 w 9595474"/>
              <a:gd name="connsiteY529" fmla="*/ 4799330 h 6858000"/>
              <a:gd name="connsiteX530" fmla="*/ 5414597 w 9595474"/>
              <a:gd name="connsiteY530" fmla="*/ 4798695 h 6858000"/>
              <a:gd name="connsiteX531" fmla="*/ 5408391 w 9595474"/>
              <a:gd name="connsiteY531" fmla="*/ 4798060 h 6858000"/>
              <a:gd name="connsiteX532" fmla="*/ 5402775 w 9595474"/>
              <a:gd name="connsiteY532" fmla="*/ 4797743 h 6858000"/>
              <a:gd name="connsiteX533" fmla="*/ 5396568 w 9595474"/>
              <a:gd name="connsiteY533" fmla="*/ 4798060 h 6858000"/>
              <a:gd name="connsiteX534" fmla="*/ 5390361 w 9595474"/>
              <a:gd name="connsiteY534" fmla="*/ 4798695 h 6858000"/>
              <a:gd name="connsiteX535" fmla="*/ 5384745 w 9595474"/>
              <a:gd name="connsiteY535" fmla="*/ 4799330 h 6858000"/>
              <a:gd name="connsiteX536" fmla="*/ 5378538 w 9595474"/>
              <a:gd name="connsiteY536" fmla="*/ 4800283 h 6858000"/>
              <a:gd name="connsiteX537" fmla="*/ 5372922 w 9595474"/>
              <a:gd name="connsiteY537" fmla="*/ 4801553 h 6858000"/>
              <a:gd name="connsiteX538" fmla="*/ 5367010 w 9595474"/>
              <a:gd name="connsiteY538" fmla="*/ 4802823 h 6858000"/>
              <a:gd name="connsiteX539" fmla="*/ 5361394 w 9595474"/>
              <a:gd name="connsiteY539" fmla="*/ 4805045 h 6858000"/>
              <a:gd name="connsiteX540" fmla="*/ 5355483 w 9595474"/>
              <a:gd name="connsiteY540" fmla="*/ 4807268 h 6858000"/>
              <a:gd name="connsiteX541" fmla="*/ 5350163 w 9595474"/>
              <a:gd name="connsiteY541" fmla="*/ 4809173 h 6858000"/>
              <a:gd name="connsiteX542" fmla="*/ 5344547 w 9595474"/>
              <a:gd name="connsiteY542" fmla="*/ 4812348 h 6858000"/>
              <a:gd name="connsiteX543" fmla="*/ 5338931 w 9595474"/>
              <a:gd name="connsiteY543" fmla="*/ 4815205 h 6858000"/>
              <a:gd name="connsiteX544" fmla="*/ 5333906 w 9595474"/>
              <a:gd name="connsiteY544" fmla="*/ 4818380 h 6858000"/>
              <a:gd name="connsiteX545" fmla="*/ 5328881 w 9595474"/>
              <a:gd name="connsiteY545" fmla="*/ 4821873 h 6858000"/>
              <a:gd name="connsiteX546" fmla="*/ 5323857 w 9595474"/>
              <a:gd name="connsiteY546" fmla="*/ 4826000 h 6858000"/>
              <a:gd name="connsiteX547" fmla="*/ 5318832 w 9595474"/>
              <a:gd name="connsiteY547" fmla="*/ 4830128 h 6858000"/>
              <a:gd name="connsiteX548" fmla="*/ 5314398 w 9595474"/>
              <a:gd name="connsiteY548" fmla="*/ 4834573 h 6858000"/>
              <a:gd name="connsiteX549" fmla="*/ 5307305 w 9595474"/>
              <a:gd name="connsiteY549" fmla="*/ 4841875 h 6858000"/>
              <a:gd name="connsiteX550" fmla="*/ 5301393 w 9595474"/>
              <a:gd name="connsiteY550" fmla="*/ 4849813 h 6858000"/>
              <a:gd name="connsiteX551" fmla="*/ 5295482 w 9595474"/>
              <a:gd name="connsiteY551" fmla="*/ 4858068 h 6858000"/>
              <a:gd name="connsiteX552" fmla="*/ 5291048 w 9595474"/>
              <a:gd name="connsiteY552" fmla="*/ 4867275 h 6858000"/>
              <a:gd name="connsiteX553" fmla="*/ 5286910 w 9595474"/>
              <a:gd name="connsiteY553" fmla="*/ 4875848 h 6858000"/>
              <a:gd name="connsiteX554" fmla="*/ 5283659 w 9595474"/>
              <a:gd name="connsiteY554" fmla="*/ 4885055 h 6858000"/>
              <a:gd name="connsiteX555" fmla="*/ 5281294 w 9595474"/>
              <a:gd name="connsiteY555" fmla="*/ 4894580 h 6858000"/>
              <a:gd name="connsiteX556" fmla="*/ 5279521 w 9595474"/>
              <a:gd name="connsiteY556" fmla="*/ 4903788 h 6858000"/>
              <a:gd name="connsiteX557" fmla="*/ 5278339 w 9595474"/>
              <a:gd name="connsiteY557" fmla="*/ 4913630 h 6858000"/>
              <a:gd name="connsiteX558" fmla="*/ 5278339 w 9595474"/>
              <a:gd name="connsiteY558" fmla="*/ 4923155 h 6858000"/>
              <a:gd name="connsiteX559" fmla="*/ 5278634 w 9595474"/>
              <a:gd name="connsiteY559" fmla="*/ 4932998 h 6858000"/>
              <a:gd name="connsiteX560" fmla="*/ 5279816 w 9595474"/>
              <a:gd name="connsiteY560" fmla="*/ 4942205 h 6858000"/>
              <a:gd name="connsiteX561" fmla="*/ 5281885 w 9595474"/>
              <a:gd name="connsiteY561" fmla="*/ 4952048 h 6858000"/>
              <a:gd name="connsiteX562" fmla="*/ 5284546 w 9595474"/>
              <a:gd name="connsiteY562" fmla="*/ 4960938 h 6858000"/>
              <a:gd name="connsiteX563" fmla="*/ 5288092 w 9595474"/>
              <a:gd name="connsiteY563" fmla="*/ 4970145 h 6858000"/>
              <a:gd name="connsiteX564" fmla="*/ 5291935 w 9595474"/>
              <a:gd name="connsiteY564" fmla="*/ 4979353 h 6858000"/>
              <a:gd name="connsiteX565" fmla="*/ 5583665 w 9595474"/>
              <a:gd name="connsiteY565" fmla="*/ 5270500 h 6858000"/>
              <a:gd name="connsiteX566" fmla="*/ 5588098 w 9595474"/>
              <a:gd name="connsiteY566" fmla="*/ 5275263 h 6858000"/>
              <a:gd name="connsiteX567" fmla="*/ 5592237 w 9595474"/>
              <a:gd name="connsiteY567" fmla="*/ 5280343 h 6858000"/>
              <a:gd name="connsiteX568" fmla="*/ 5595784 w 9595474"/>
              <a:gd name="connsiteY568" fmla="*/ 5284788 h 6858000"/>
              <a:gd name="connsiteX569" fmla="*/ 5599626 w 9595474"/>
              <a:gd name="connsiteY569" fmla="*/ 5290185 h 6858000"/>
              <a:gd name="connsiteX570" fmla="*/ 5602582 w 9595474"/>
              <a:gd name="connsiteY570" fmla="*/ 5295265 h 6858000"/>
              <a:gd name="connsiteX571" fmla="*/ 5605833 w 9595474"/>
              <a:gd name="connsiteY571" fmla="*/ 5300663 h 6858000"/>
              <a:gd name="connsiteX572" fmla="*/ 5608493 w 9595474"/>
              <a:gd name="connsiteY572" fmla="*/ 5306060 h 6858000"/>
              <a:gd name="connsiteX573" fmla="*/ 5610857 w 9595474"/>
              <a:gd name="connsiteY573" fmla="*/ 5311775 h 6858000"/>
              <a:gd name="connsiteX574" fmla="*/ 5613222 w 9595474"/>
              <a:gd name="connsiteY574" fmla="*/ 5317490 h 6858000"/>
              <a:gd name="connsiteX575" fmla="*/ 5614996 w 9595474"/>
              <a:gd name="connsiteY575" fmla="*/ 5323523 h 6858000"/>
              <a:gd name="connsiteX576" fmla="*/ 5616474 w 9595474"/>
              <a:gd name="connsiteY576" fmla="*/ 5329238 h 6858000"/>
              <a:gd name="connsiteX577" fmla="*/ 5617656 w 9595474"/>
              <a:gd name="connsiteY577" fmla="*/ 5334953 h 6858000"/>
              <a:gd name="connsiteX578" fmla="*/ 5618838 w 9595474"/>
              <a:gd name="connsiteY578" fmla="*/ 5340985 h 6858000"/>
              <a:gd name="connsiteX579" fmla="*/ 5619725 w 9595474"/>
              <a:gd name="connsiteY579" fmla="*/ 5346700 h 6858000"/>
              <a:gd name="connsiteX580" fmla="*/ 5620021 w 9595474"/>
              <a:gd name="connsiteY580" fmla="*/ 5352733 h 6858000"/>
              <a:gd name="connsiteX581" fmla="*/ 5620021 w 9595474"/>
              <a:gd name="connsiteY581" fmla="*/ 5359083 h 6858000"/>
              <a:gd name="connsiteX582" fmla="*/ 5620021 w 9595474"/>
              <a:gd name="connsiteY582" fmla="*/ 5364798 h 6858000"/>
              <a:gd name="connsiteX583" fmla="*/ 5619725 w 9595474"/>
              <a:gd name="connsiteY583" fmla="*/ 5370830 h 6858000"/>
              <a:gd name="connsiteX584" fmla="*/ 5618838 w 9595474"/>
              <a:gd name="connsiteY584" fmla="*/ 5376545 h 6858000"/>
              <a:gd name="connsiteX585" fmla="*/ 5617656 w 9595474"/>
              <a:gd name="connsiteY585" fmla="*/ 5382578 h 6858000"/>
              <a:gd name="connsiteX586" fmla="*/ 5616474 w 9595474"/>
              <a:gd name="connsiteY586" fmla="*/ 5388293 h 6858000"/>
              <a:gd name="connsiteX587" fmla="*/ 5614996 w 9595474"/>
              <a:gd name="connsiteY587" fmla="*/ 5394008 h 6858000"/>
              <a:gd name="connsiteX588" fmla="*/ 5613222 w 9595474"/>
              <a:gd name="connsiteY588" fmla="*/ 5400040 h 6858000"/>
              <a:gd name="connsiteX589" fmla="*/ 5610857 w 9595474"/>
              <a:gd name="connsiteY589" fmla="*/ 5405755 h 6858000"/>
              <a:gd name="connsiteX590" fmla="*/ 5608493 w 9595474"/>
              <a:gd name="connsiteY590" fmla="*/ 5411470 h 6858000"/>
              <a:gd name="connsiteX591" fmla="*/ 5605833 w 9595474"/>
              <a:gd name="connsiteY591" fmla="*/ 5416868 h 6858000"/>
              <a:gd name="connsiteX592" fmla="*/ 5602582 w 9595474"/>
              <a:gd name="connsiteY592" fmla="*/ 5422265 h 6858000"/>
              <a:gd name="connsiteX593" fmla="*/ 5599626 w 9595474"/>
              <a:gd name="connsiteY593" fmla="*/ 5427663 h 6858000"/>
              <a:gd name="connsiteX594" fmla="*/ 5595784 w 9595474"/>
              <a:gd name="connsiteY594" fmla="*/ 5432743 h 6858000"/>
              <a:gd name="connsiteX595" fmla="*/ 5592237 w 9595474"/>
              <a:gd name="connsiteY595" fmla="*/ 5437505 h 6858000"/>
              <a:gd name="connsiteX596" fmla="*/ 5588098 w 9595474"/>
              <a:gd name="connsiteY596" fmla="*/ 5442268 h 6858000"/>
              <a:gd name="connsiteX597" fmla="*/ 5583665 w 9595474"/>
              <a:gd name="connsiteY597" fmla="*/ 5447030 h 6858000"/>
              <a:gd name="connsiteX598" fmla="*/ 5578936 w 9595474"/>
              <a:gd name="connsiteY598" fmla="*/ 5451158 h 6858000"/>
              <a:gd name="connsiteX599" fmla="*/ 5573911 w 9595474"/>
              <a:gd name="connsiteY599" fmla="*/ 5455603 h 6858000"/>
              <a:gd name="connsiteX600" fmla="*/ 5569182 w 9595474"/>
              <a:gd name="connsiteY600" fmla="*/ 5459095 h 6858000"/>
              <a:gd name="connsiteX601" fmla="*/ 5563862 w 9595474"/>
              <a:gd name="connsiteY601" fmla="*/ 5462905 h 6858000"/>
              <a:gd name="connsiteX602" fmla="*/ 5558837 w 9595474"/>
              <a:gd name="connsiteY602" fmla="*/ 5466080 h 6858000"/>
              <a:gd name="connsiteX603" fmla="*/ 5553517 w 9595474"/>
              <a:gd name="connsiteY603" fmla="*/ 5469255 h 6858000"/>
              <a:gd name="connsiteX604" fmla="*/ 5548196 w 9595474"/>
              <a:gd name="connsiteY604" fmla="*/ 5471795 h 6858000"/>
              <a:gd name="connsiteX605" fmla="*/ 5542285 w 9595474"/>
              <a:gd name="connsiteY605" fmla="*/ 5474335 h 6858000"/>
              <a:gd name="connsiteX606" fmla="*/ 5536964 w 9595474"/>
              <a:gd name="connsiteY606" fmla="*/ 5476558 h 6858000"/>
              <a:gd name="connsiteX607" fmla="*/ 5531348 w 9595474"/>
              <a:gd name="connsiteY607" fmla="*/ 5478145 h 6858000"/>
              <a:gd name="connsiteX608" fmla="*/ 5525437 w 9595474"/>
              <a:gd name="connsiteY608" fmla="*/ 5479733 h 6858000"/>
              <a:gd name="connsiteX609" fmla="*/ 5519230 w 9595474"/>
              <a:gd name="connsiteY609" fmla="*/ 5481003 h 6858000"/>
              <a:gd name="connsiteX610" fmla="*/ 5513614 w 9595474"/>
              <a:gd name="connsiteY610" fmla="*/ 5482273 h 6858000"/>
              <a:gd name="connsiteX611" fmla="*/ 5507999 w 9595474"/>
              <a:gd name="connsiteY611" fmla="*/ 5482908 h 6858000"/>
              <a:gd name="connsiteX612" fmla="*/ 5501791 w 9595474"/>
              <a:gd name="connsiteY612" fmla="*/ 5483225 h 6858000"/>
              <a:gd name="connsiteX613" fmla="*/ 5495585 w 9595474"/>
              <a:gd name="connsiteY613" fmla="*/ 5483543 h 6858000"/>
              <a:gd name="connsiteX614" fmla="*/ 6873545 w 9595474"/>
              <a:gd name="connsiteY614" fmla="*/ 6858000 h 6858000"/>
              <a:gd name="connsiteX615" fmla="*/ 9595474 w 9595474"/>
              <a:gd name="connsiteY615" fmla="*/ 6858000 h 6858000"/>
              <a:gd name="connsiteX0" fmla="*/ 9595474 w 9595474"/>
              <a:gd name="connsiteY0" fmla="*/ 0 h 6858000"/>
              <a:gd name="connsiteX1" fmla="*/ 3372834 w 9595474"/>
              <a:gd name="connsiteY1" fmla="*/ 0 h 6858000"/>
              <a:gd name="connsiteX2" fmla="*/ 2914643 w 9595474"/>
              <a:gd name="connsiteY2" fmla="*/ 0 h 6858000"/>
              <a:gd name="connsiteX3" fmla="*/ 2857270 w 9595474"/>
              <a:gd name="connsiteY3" fmla="*/ 0 h 6858000"/>
              <a:gd name="connsiteX4" fmla="*/ 0 w 9595474"/>
              <a:gd name="connsiteY4" fmla="*/ 0 h 6858000"/>
              <a:gd name="connsiteX5" fmla="*/ 692823 w 9595474"/>
              <a:gd name="connsiteY5" fmla="*/ 691198 h 6858000"/>
              <a:gd name="connsiteX6" fmla="*/ 691345 w 9595474"/>
              <a:gd name="connsiteY6" fmla="*/ 683895 h 6858000"/>
              <a:gd name="connsiteX7" fmla="*/ 690754 w 9595474"/>
              <a:gd name="connsiteY7" fmla="*/ 676275 h 6858000"/>
              <a:gd name="connsiteX8" fmla="*/ 690754 w 9595474"/>
              <a:gd name="connsiteY8" fmla="*/ 669290 h 6858000"/>
              <a:gd name="connsiteX9" fmla="*/ 690754 w 9595474"/>
              <a:gd name="connsiteY9" fmla="*/ 661988 h 6858000"/>
              <a:gd name="connsiteX10" fmla="*/ 691345 w 9595474"/>
              <a:gd name="connsiteY10" fmla="*/ 654368 h 6858000"/>
              <a:gd name="connsiteX11" fmla="*/ 692527 w 9595474"/>
              <a:gd name="connsiteY11" fmla="*/ 647383 h 6858000"/>
              <a:gd name="connsiteX12" fmla="*/ 694005 w 9595474"/>
              <a:gd name="connsiteY12" fmla="*/ 640080 h 6858000"/>
              <a:gd name="connsiteX13" fmla="*/ 695778 w 9595474"/>
              <a:gd name="connsiteY13" fmla="*/ 633095 h 6858000"/>
              <a:gd name="connsiteX14" fmla="*/ 698143 w 9595474"/>
              <a:gd name="connsiteY14" fmla="*/ 625793 h 6858000"/>
              <a:gd name="connsiteX15" fmla="*/ 700803 w 9595474"/>
              <a:gd name="connsiteY15" fmla="*/ 618808 h 6858000"/>
              <a:gd name="connsiteX16" fmla="*/ 704054 w 9595474"/>
              <a:gd name="connsiteY16" fmla="*/ 612140 h 6858000"/>
              <a:gd name="connsiteX17" fmla="*/ 707601 w 9595474"/>
              <a:gd name="connsiteY17" fmla="*/ 605790 h 6858000"/>
              <a:gd name="connsiteX18" fmla="*/ 712035 w 9595474"/>
              <a:gd name="connsiteY18" fmla="*/ 599123 h 6858000"/>
              <a:gd name="connsiteX19" fmla="*/ 716173 w 9595474"/>
              <a:gd name="connsiteY19" fmla="*/ 592773 h 6858000"/>
              <a:gd name="connsiteX20" fmla="*/ 721198 w 9595474"/>
              <a:gd name="connsiteY20" fmla="*/ 587058 h 6858000"/>
              <a:gd name="connsiteX21" fmla="*/ 726518 w 9595474"/>
              <a:gd name="connsiteY21" fmla="*/ 581343 h 6858000"/>
              <a:gd name="connsiteX22" fmla="*/ 731247 w 9595474"/>
              <a:gd name="connsiteY22" fmla="*/ 576898 h 6858000"/>
              <a:gd name="connsiteX23" fmla="*/ 735976 w 9595474"/>
              <a:gd name="connsiteY23" fmla="*/ 572453 h 6858000"/>
              <a:gd name="connsiteX24" fmla="*/ 741001 w 9595474"/>
              <a:gd name="connsiteY24" fmla="*/ 568960 h 6858000"/>
              <a:gd name="connsiteX25" fmla="*/ 746026 w 9595474"/>
              <a:gd name="connsiteY25" fmla="*/ 565468 h 6858000"/>
              <a:gd name="connsiteX26" fmla="*/ 751050 w 9595474"/>
              <a:gd name="connsiteY26" fmla="*/ 562293 h 6858000"/>
              <a:gd name="connsiteX27" fmla="*/ 756371 w 9595474"/>
              <a:gd name="connsiteY27" fmla="*/ 558800 h 6858000"/>
              <a:gd name="connsiteX28" fmla="*/ 761691 w 9595474"/>
              <a:gd name="connsiteY28" fmla="*/ 556578 h 6858000"/>
              <a:gd name="connsiteX29" fmla="*/ 767602 w 9595474"/>
              <a:gd name="connsiteY29" fmla="*/ 554038 h 6858000"/>
              <a:gd name="connsiteX30" fmla="*/ 772923 w 9595474"/>
              <a:gd name="connsiteY30" fmla="*/ 551815 h 6858000"/>
              <a:gd name="connsiteX31" fmla="*/ 778834 w 9595474"/>
              <a:gd name="connsiteY31" fmla="*/ 549910 h 6858000"/>
              <a:gd name="connsiteX32" fmla="*/ 784450 w 9595474"/>
              <a:gd name="connsiteY32" fmla="*/ 548640 h 6858000"/>
              <a:gd name="connsiteX33" fmla="*/ 790066 w 9595474"/>
              <a:gd name="connsiteY33" fmla="*/ 547370 h 6858000"/>
              <a:gd name="connsiteX34" fmla="*/ 795977 w 9595474"/>
              <a:gd name="connsiteY34" fmla="*/ 546418 h 6858000"/>
              <a:gd name="connsiteX35" fmla="*/ 802184 w 9595474"/>
              <a:gd name="connsiteY35" fmla="*/ 545783 h 6858000"/>
              <a:gd name="connsiteX36" fmla="*/ 807800 w 9595474"/>
              <a:gd name="connsiteY36" fmla="*/ 545465 h 6858000"/>
              <a:gd name="connsiteX37" fmla="*/ 814007 w 9595474"/>
              <a:gd name="connsiteY37" fmla="*/ 544830 h 6858000"/>
              <a:gd name="connsiteX38" fmla="*/ 819623 w 9595474"/>
              <a:gd name="connsiteY38" fmla="*/ 545465 h 6858000"/>
              <a:gd name="connsiteX39" fmla="*/ 825830 w 9595474"/>
              <a:gd name="connsiteY39" fmla="*/ 545783 h 6858000"/>
              <a:gd name="connsiteX40" fmla="*/ 831446 w 9595474"/>
              <a:gd name="connsiteY40" fmla="*/ 546418 h 6858000"/>
              <a:gd name="connsiteX41" fmla="*/ 837358 w 9595474"/>
              <a:gd name="connsiteY41" fmla="*/ 547370 h 6858000"/>
              <a:gd name="connsiteX42" fmla="*/ 842974 w 9595474"/>
              <a:gd name="connsiteY42" fmla="*/ 548640 h 6858000"/>
              <a:gd name="connsiteX43" fmla="*/ 848885 w 9595474"/>
              <a:gd name="connsiteY43" fmla="*/ 549910 h 6858000"/>
              <a:gd name="connsiteX44" fmla="*/ 854501 w 9595474"/>
              <a:gd name="connsiteY44" fmla="*/ 551815 h 6858000"/>
              <a:gd name="connsiteX45" fmla="*/ 860117 w 9595474"/>
              <a:gd name="connsiteY45" fmla="*/ 554038 h 6858000"/>
              <a:gd name="connsiteX46" fmla="*/ 865733 w 9595474"/>
              <a:gd name="connsiteY46" fmla="*/ 556578 h 6858000"/>
              <a:gd name="connsiteX47" fmla="*/ 871053 w 9595474"/>
              <a:gd name="connsiteY47" fmla="*/ 558800 h 6858000"/>
              <a:gd name="connsiteX48" fmla="*/ 876373 w 9595474"/>
              <a:gd name="connsiteY48" fmla="*/ 562293 h 6858000"/>
              <a:gd name="connsiteX49" fmla="*/ 881398 w 9595474"/>
              <a:gd name="connsiteY49" fmla="*/ 565468 h 6858000"/>
              <a:gd name="connsiteX50" fmla="*/ 886718 w 9595474"/>
              <a:gd name="connsiteY50" fmla="*/ 568960 h 6858000"/>
              <a:gd name="connsiteX51" fmla="*/ 891447 w 9595474"/>
              <a:gd name="connsiteY51" fmla="*/ 572453 h 6858000"/>
              <a:gd name="connsiteX52" fmla="*/ 896177 w 9595474"/>
              <a:gd name="connsiteY52" fmla="*/ 576898 h 6858000"/>
              <a:gd name="connsiteX53" fmla="*/ 900906 w 9595474"/>
              <a:gd name="connsiteY53" fmla="*/ 581343 h 6858000"/>
              <a:gd name="connsiteX54" fmla="*/ 1431459 w 9595474"/>
              <a:gd name="connsiteY54" fmla="*/ 1111568 h 6858000"/>
              <a:gd name="connsiteX55" fmla="*/ 2394731 w 9595474"/>
              <a:gd name="connsiteY55" fmla="*/ 2074863 h 6858000"/>
              <a:gd name="connsiteX56" fmla="*/ 2399164 w 9595474"/>
              <a:gd name="connsiteY56" fmla="*/ 2079308 h 6858000"/>
              <a:gd name="connsiteX57" fmla="*/ 2404189 w 9595474"/>
              <a:gd name="connsiteY57" fmla="*/ 2083435 h 6858000"/>
              <a:gd name="connsiteX58" fmla="*/ 2408918 w 9595474"/>
              <a:gd name="connsiteY58" fmla="*/ 2087245 h 6858000"/>
              <a:gd name="connsiteX59" fmla="*/ 2413943 w 9595474"/>
              <a:gd name="connsiteY59" fmla="*/ 2090738 h 6858000"/>
              <a:gd name="connsiteX60" fmla="*/ 2419263 w 9595474"/>
              <a:gd name="connsiteY60" fmla="*/ 2093913 h 6858000"/>
              <a:gd name="connsiteX61" fmla="*/ 2424583 w 9595474"/>
              <a:gd name="connsiteY61" fmla="*/ 2096770 h 6858000"/>
              <a:gd name="connsiteX62" fmla="*/ 2430199 w 9595474"/>
              <a:gd name="connsiteY62" fmla="*/ 2099628 h 6858000"/>
              <a:gd name="connsiteX63" fmla="*/ 2435520 w 9595474"/>
              <a:gd name="connsiteY63" fmla="*/ 2101850 h 6858000"/>
              <a:gd name="connsiteX64" fmla="*/ 2441136 w 9595474"/>
              <a:gd name="connsiteY64" fmla="*/ 2104073 h 6858000"/>
              <a:gd name="connsiteX65" fmla="*/ 2447047 w 9595474"/>
              <a:gd name="connsiteY65" fmla="*/ 2105660 h 6858000"/>
              <a:gd name="connsiteX66" fmla="*/ 2452663 w 9595474"/>
              <a:gd name="connsiteY66" fmla="*/ 2107565 h 6858000"/>
              <a:gd name="connsiteX67" fmla="*/ 2458574 w 9595474"/>
              <a:gd name="connsiteY67" fmla="*/ 2108518 h 6858000"/>
              <a:gd name="connsiteX68" fmla="*/ 2464190 w 9595474"/>
              <a:gd name="connsiteY68" fmla="*/ 2109788 h 6858000"/>
              <a:gd name="connsiteX69" fmla="*/ 2469806 w 9595474"/>
              <a:gd name="connsiteY69" fmla="*/ 2110423 h 6858000"/>
              <a:gd name="connsiteX70" fmla="*/ 2476013 w 9595474"/>
              <a:gd name="connsiteY70" fmla="*/ 2110740 h 6858000"/>
              <a:gd name="connsiteX71" fmla="*/ 2481925 w 9595474"/>
              <a:gd name="connsiteY71" fmla="*/ 2111058 h 6858000"/>
              <a:gd name="connsiteX72" fmla="*/ 2487836 w 9595474"/>
              <a:gd name="connsiteY72" fmla="*/ 2110740 h 6858000"/>
              <a:gd name="connsiteX73" fmla="*/ 2493747 w 9595474"/>
              <a:gd name="connsiteY73" fmla="*/ 2110423 h 6858000"/>
              <a:gd name="connsiteX74" fmla="*/ 2499363 w 9595474"/>
              <a:gd name="connsiteY74" fmla="*/ 2109788 h 6858000"/>
              <a:gd name="connsiteX75" fmla="*/ 2505570 w 9595474"/>
              <a:gd name="connsiteY75" fmla="*/ 2108518 h 6858000"/>
              <a:gd name="connsiteX76" fmla="*/ 2511186 w 9595474"/>
              <a:gd name="connsiteY76" fmla="*/ 2107565 h 6858000"/>
              <a:gd name="connsiteX77" fmla="*/ 2517098 w 9595474"/>
              <a:gd name="connsiteY77" fmla="*/ 2105660 h 6858000"/>
              <a:gd name="connsiteX78" fmla="*/ 2522714 w 9595474"/>
              <a:gd name="connsiteY78" fmla="*/ 2104073 h 6858000"/>
              <a:gd name="connsiteX79" fmla="*/ 2528034 w 9595474"/>
              <a:gd name="connsiteY79" fmla="*/ 2101850 h 6858000"/>
              <a:gd name="connsiteX80" fmla="*/ 2533945 w 9595474"/>
              <a:gd name="connsiteY80" fmla="*/ 2099628 h 6858000"/>
              <a:gd name="connsiteX81" fmla="*/ 2539266 w 9595474"/>
              <a:gd name="connsiteY81" fmla="*/ 2096770 h 6858000"/>
              <a:gd name="connsiteX82" fmla="*/ 2544290 w 9595474"/>
              <a:gd name="connsiteY82" fmla="*/ 2093913 h 6858000"/>
              <a:gd name="connsiteX83" fmla="*/ 2549611 w 9595474"/>
              <a:gd name="connsiteY83" fmla="*/ 2090738 h 6858000"/>
              <a:gd name="connsiteX84" fmla="*/ 2554635 w 9595474"/>
              <a:gd name="connsiteY84" fmla="*/ 2087245 h 6858000"/>
              <a:gd name="connsiteX85" fmla="*/ 2559660 w 9595474"/>
              <a:gd name="connsiteY85" fmla="*/ 2083435 h 6858000"/>
              <a:gd name="connsiteX86" fmla="*/ 2564389 w 9595474"/>
              <a:gd name="connsiteY86" fmla="*/ 2079308 h 6858000"/>
              <a:gd name="connsiteX87" fmla="*/ 2569119 w 9595474"/>
              <a:gd name="connsiteY87" fmla="*/ 2074863 h 6858000"/>
              <a:gd name="connsiteX88" fmla="*/ 2573257 w 9595474"/>
              <a:gd name="connsiteY88" fmla="*/ 2070100 h 6858000"/>
              <a:gd name="connsiteX89" fmla="*/ 2577395 w 9595474"/>
              <a:gd name="connsiteY89" fmla="*/ 2065655 h 6858000"/>
              <a:gd name="connsiteX90" fmla="*/ 2581237 w 9595474"/>
              <a:gd name="connsiteY90" fmla="*/ 2060575 h 6858000"/>
              <a:gd name="connsiteX91" fmla="*/ 2584784 w 9595474"/>
              <a:gd name="connsiteY91" fmla="*/ 2055495 h 6858000"/>
              <a:gd name="connsiteX92" fmla="*/ 2588035 w 9595474"/>
              <a:gd name="connsiteY92" fmla="*/ 2050415 h 6858000"/>
              <a:gd name="connsiteX93" fmla="*/ 2590991 w 9595474"/>
              <a:gd name="connsiteY93" fmla="*/ 2045018 h 6858000"/>
              <a:gd name="connsiteX94" fmla="*/ 2593651 w 9595474"/>
              <a:gd name="connsiteY94" fmla="*/ 2039620 h 6858000"/>
              <a:gd name="connsiteX95" fmla="*/ 2596016 w 9595474"/>
              <a:gd name="connsiteY95" fmla="*/ 2034223 h 6858000"/>
              <a:gd name="connsiteX96" fmla="*/ 2598085 w 9595474"/>
              <a:gd name="connsiteY96" fmla="*/ 2028508 h 6858000"/>
              <a:gd name="connsiteX97" fmla="*/ 2599858 w 9595474"/>
              <a:gd name="connsiteY97" fmla="*/ 2022793 h 6858000"/>
              <a:gd name="connsiteX98" fmla="*/ 2601336 w 9595474"/>
              <a:gd name="connsiteY98" fmla="*/ 2017078 h 6858000"/>
              <a:gd name="connsiteX99" fmla="*/ 2602814 w 9595474"/>
              <a:gd name="connsiteY99" fmla="*/ 2011363 h 6858000"/>
              <a:gd name="connsiteX100" fmla="*/ 2603996 w 9595474"/>
              <a:gd name="connsiteY100" fmla="*/ 2005648 h 6858000"/>
              <a:gd name="connsiteX101" fmla="*/ 2604587 w 9595474"/>
              <a:gd name="connsiteY101" fmla="*/ 1999615 h 6858000"/>
              <a:gd name="connsiteX102" fmla="*/ 2604883 w 9595474"/>
              <a:gd name="connsiteY102" fmla="*/ 1993583 h 6858000"/>
              <a:gd name="connsiteX103" fmla="*/ 2604883 w 9595474"/>
              <a:gd name="connsiteY103" fmla="*/ 1987550 h 6858000"/>
              <a:gd name="connsiteX104" fmla="*/ 2604883 w 9595474"/>
              <a:gd name="connsiteY104" fmla="*/ 1981835 h 6858000"/>
              <a:gd name="connsiteX105" fmla="*/ 2604587 w 9595474"/>
              <a:gd name="connsiteY105" fmla="*/ 1976120 h 6858000"/>
              <a:gd name="connsiteX106" fmla="*/ 2603996 w 9595474"/>
              <a:gd name="connsiteY106" fmla="*/ 1970088 h 6858000"/>
              <a:gd name="connsiteX107" fmla="*/ 2602814 w 9595474"/>
              <a:gd name="connsiteY107" fmla="*/ 1964373 h 6858000"/>
              <a:gd name="connsiteX108" fmla="*/ 2601336 w 9595474"/>
              <a:gd name="connsiteY108" fmla="*/ 1958658 h 6858000"/>
              <a:gd name="connsiteX109" fmla="*/ 2599858 w 9595474"/>
              <a:gd name="connsiteY109" fmla="*/ 1952625 h 6858000"/>
              <a:gd name="connsiteX110" fmla="*/ 2598085 w 9595474"/>
              <a:gd name="connsiteY110" fmla="*/ 1946910 h 6858000"/>
              <a:gd name="connsiteX111" fmla="*/ 2596016 w 9595474"/>
              <a:gd name="connsiteY111" fmla="*/ 1941195 h 6858000"/>
              <a:gd name="connsiteX112" fmla="*/ 2593651 w 9595474"/>
              <a:gd name="connsiteY112" fmla="*/ 1935798 h 6858000"/>
              <a:gd name="connsiteX113" fmla="*/ 2590991 w 9595474"/>
              <a:gd name="connsiteY113" fmla="*/ 1930400 h 6858000"/>
              <a:gd name="connsiteX114" fmla="*/ 2588035 w 9595474"/>
              <a:gd name="connsiteY114" fmla="*/ 1925003 h 6858000"/>
              <a:gd name="connsiteX115" fmla="*/ 2584784 w 9595474"/>
              <a:gd name="connsiteY115" fmla="*/ 1919923 h 6858000"/>
              <a:gd name="connsiteX116" fmla="*/ 2581237 w 9595474"/>
              <a:gd name="connsiteY116" fmla="*/ 1915160 h 6858000"/>
              <a:gd name="connsiteX117" fmla="*/ 2577395 w 9595474"/>
              <a:gd name="connsiteY117" fmla="*/ 1910080 h 6858000"/>
              <a:gd name="connsiteX118" fmla="*/ 2573257 w 9595474"/>
              <a:gd name="connsiteY118" fmla="*/ 1905318 h 6858000"/>
              <a:gd name="connsiteX119" fmla="*/ 2569119 w 9595474"/>
              <a:gd name="connsiteY119" fmla="*/ 1900555 h 6858000"/>
              <a:gd name="connsiteX120" fmla="*/ 1590477 w 9595474"/>
              <a:gd name="connsiteY120" fmla="*/ 922020 h 6858000"/>
              <a:gd name="connsiteX121" fmla="*/ 1272736 w 9595474"/>
              <a:gd name="connsiteY121" fmla="*/ 604203 h 6858000"/>
              <a:gd name="connsiteX122" fmla="*/ 1268303 w 9595474"/>
              <a:gd name="connsiteY122" fmla="*/ 599440 h 6858000"/>
              <a:gd name="connsiteX123" fmla="*/ 1264165 w 9595474"/>
              <a:gd name="connsiteY123" fmla="*/ 594995 h 6858000"/>
              <a:gd name="connsiteX124" fmla="*/ 1260322 w 9595474"/>
              <a:gd name="connsiteY124" fmla="*/ 589915 h 6858000"/>
              <a:gd name="connsiteX125" fmla="*/ 1256776 w 9595474"/>
              <a:gd name="connsiteY125" fmla="*/ 584835 h 6858000"/>
              <a:gd name="connsiteX126" fmla="*/ 1253524 w 9595474"/>
              <a:gd name="connsiteY126" fmla="*/ 579755 h 6858000"/>
              <a:gd name="connsiteX127" fmla="*/ 1250864 w 9595474"/>
              <a:gd name="connsiteY127" fmla="*/ 574358 h 6858000"/>
              <a:gd name="connsiteX128" fmla="*/ 1247908 w 9595474"/>
              <a:gd name="connsiteY128" fmla="*/ 568960 h 6858000"/>
              <a:gd name="connsiteX129" fmla="*/ 1245839 w 9595474"/>
              <a:gd name="connsiteY129" fmla="*/ 563563 h 6858000"/>
              <a:gd name="connsiteX130" fmla="*/ 1243475 w 9595474"/>
              <a:gd name="connsiteY130" fmla="*/ 557848 h 6858000"/>
              <a:gd name="connsiteX131" fmla="*/ 1241701 w 9595474"/>
              <a:gd name="connsiteY131" fmla="*/ 552133 h 6858000"/>
              <a:gd name="connsiteX132" fmla="*/ 1239928 w 9595474"/>
              <a:gd name="connsiteY132" fmla="*/ 546418 h 6858000"/>
              <a:gd name="connsiteX133" fmla="*/ 1238746 w 9595474"/>
              <a:gd name="connsiteY133" fmla="*/ 540703 h 6858000"/>
              <a:gd name="connsiteX134" fmla="*/ 1237859 w 9595474"/>
              <a:gd name="connsiteY134" fmla="*/ 534988 h 6858000"/>
              <a:gd name="connsiteX135" fmla="*/ 1236972 w 9595474"/>
              <a:gd name="connsiteY135" fmla="*/ 528638 h 6858000"/>
              <a:gd name="connsiteX136" fmla="*/ 1236677 w 9595474"/>
              <a:gd name="connsiteY136" fmla="*/ 522923 h 6858000"/>
              <a:gd name="connsiteX137" fmla="*/ 1236381 w 9595474"/>
              <a:gd name="connsiteY137" fmla="*/ 516890 h 6858000"/>
              <a:gd name="connsiteX138" fmla="*/ 1236677 w 9595474"/>
              <a:gd name="connsiteY138" fmla="*/ 511175 h 6858000"/>
              <a:gd name="connsiteX139" fmla="*/ 1236972 w 9595474"/>
              <a:gd name="connsiteY139" fmla="*/ 505460 h 6858000"/>
              <a:gd name="connsiteX140" fmla="*/ 1237859 w 9595474"/>
              <a:gd name="connsiteY140" fmla="*/ 499428 h 6858000"/>
              <a:gd name="connsiteX141" fmla="*/ 1238746 w 9595474"/>
              <a:gd name="connsiteY141" fmla="*/ 493713 h 6858000"/>
              <a:gd name="connsiteX142" fmla="*/ 1239928 w 9595474"/>
              <a:gd name="connsiteY142" fmla="*/ 487680 h 6858000"/>
              <a:gd name="connsiteX143" fmla="*/ 1241701 w 9595474"/>
              <a:gd name="connsiteY143" fmla="*/ 481965 h 6858000"/>
              <a:gd name="connsiteX144" fmla="*/ 1243475 w 9595474"/>
              <a:gd name="connsiteY144" fmla="*/ 476250 h 6858000"/>
              <a:gd name="connsiteX145" fmla="*/ 1245839 w 9595474"/>
              <a:gd name="connsiteY145" fmla="*/ 470535 h 6858000"/>
              <a:gd name="connsiteX146" fmla="*/ 1247908 w 9595474"/>
              <a:gd name="connsiteY146" fmla="*/ 465138 h 6858000"/>
              <a:gd name="connsiteX147" fmla="*/ 1250864 w 9595474"/>
              <a:gd name="connsiteY147" fmla="*/ 459740 h 6858000"/>
              <a:gd name="connsiteX148" fmla="*/ 1253524 w 9595474"/>
              <a:gd name="connsiteY148" fmla="*/ 454343 h 6858000"/>
              <a:gd name="connsiteX149" fmla="*/ 1256776 w 9595474"/>
              <a:gd name="connsiteY149" fmla="*/ 449263 h 6858000"/>
              <a:gd name="connsiteX150" fmla="*/ 1260322 w 9595474"/>
              <a:gd name="connsiteY150" fmla="*/ 444500 h 6858000"/>
              <a:gd name="connsiteX151" fmla="*/ 1264165 w 9595474"/>
              <a:gd name="connsiteY151" fmla="*/ 439420 h 6858000"/>
              <a:gd name="connsiteX152" fmla="*/ 1268303 w 9595474"/>
              <a:gd name="connsiteY152" fmla="*/ 434658 h 6858000"/>
              <a:gd name="connsiteX153" fmla="*/ 1272736 w 9595474"/>
              <a:gd name="connsiteY153" fmla="*/ 429895 h 6858000"/>
              <a:gd name="connsiteX154" fmla="*/ 1277466 w 9595474"/>
              <a:gd name="connsiteY154" fmla="*/ 425768 h 6858000"/>
              <a:gd name="connsiteX155" fmla="*/ 1281899 w 9595474"/>
              <a:gd name="connsiteY155" fmla="*/ 421323 h 6858000"/>
              <a:gd name="connsiteX156" fmla="*/ 1286924 w 9595474"/>
              <a:gd name="connsiteY156" fmla="*/ 417830 h 6858000"/>
              <a:gd name="connsiteX157" fmla="*/ 1291949 w 9595474"/>
              <a:gd name="connsiteY157" fmla="*/ 414338 h 6858000"/>
              <a:gd name="connsiteX158" fmla="*/ 1296973 w 9595474"/>
              <a:gd name="connsiteY158" fmla="*/ 410845 h 6858000"/>
              <a:gd name="connsiteX159" fmla="*/ 1302589 w 9595474"/>
              <a:gd name="connsiteY159" fmla="*/ 407988 h 6858000"/>
              <a:gd name="connsiteX160" fmla="*/ 1307910 w 9595474"/>
              <a:gd name="connsiteY160" fmla="*/ 405130 h 6858000"/>
              <a:gd name="connsiteX161" fmla="*/ 1313230 w 9595474"/>
              <a:gd name="connsiteY161" fmla="*/ 402908 h 6858000"/>
              <a:gd name="connsiteX162" fmla="*/ 1318846 w 9595474"/>
              <a:gd name="connsiteY162" fmla="*/ 401003 h 6858000"/>
              <a:gd name="connsiteX163" fmla="*/ 1324757 w 9595474"/>
              <a:gd name="connsiteY163" fmla="*/ 399098 h 6858000"/>
              <a:gd name="connsiteX164" fmla="*/ 1330373 w 9595474"/>
              <a:gd name="connsiteY164" fmla="*/ 397193 h 6858000"/>
              <a:gd name="connsiteX165" fmla="*/ 1336285 w 9595474"/>
              <a:gd name="connsiteY165" fmla="*/ 396240 h 6858000"/>
              <a:gd name="connsiteX166" fmla="*/ 1341901 w 9595474"/>
              <a:gd name="connsiteY166" fmla="*/ 395288 h 6858000"/>
              <a:gd name="connsiteX167" fmla="*/ 1348108 w 9595474"/>
              <a:gd name="connsiteY167" fmla="*/ 394335 h 6858000"/>
              <a:gd name="connsiteX168" fmla="*/ 1353723 w 9595474"/>
              <a:gd name="connsiteY168" fmla="*/ 394018 h 6858000"/>
              <a:gd name="connsiteX169" fmla="*/ 1359930 w 9595474"/>
              <a:gd name="connsiteY169" fmla="*/ 393700 h 6858000"/>
              <a:gd name="connsiteX170" fmla="*/ 1365546 w 9595474"/>
              <a:gd name="connsiteY170" fmla="*/ 394018 h 6858000"/>
              <a:gd name="connsiteX171" fmla="*/ 1371458 w 9595474"/>
              <a:gd name="connsiteY171" fmla="*/ 394335 h 6858000"/>
              <a:gd name="connsiteX172" fmla="*/ 1377665 w 9595474"/>
              <a:gd name="connsiteY172" fmla="*/ 395288 h 6858000"/>
              <a:gd name="connsiteX173" fmla="*/ 1383281 w 9595474"/>
              <a:gd name="connsiteY173" fmla="*/ 396240 h 6858000"/>
              <a:gd name="connsiteX174" fmla="*/ 1388897 w 9595474"/>
              <a:gd name="connsiteY174" fmla="*/ 397193 h 6858000"/>
              <a:gd name="connsiteX175" fmla="*/ 1394808 w 9595474"/>
              <a:gd name="connsiteY175" fmla="*/ 399098 h 6858000"/>
              <a:gd name="connsiteX176" fmla="*/ 1400424 w 9595474"/>
              <a:gd name="connsiteY176" fmla="*/ 401003 h 6858000"/>
              <a:gd name="connsiteX177" fmla="*/ 1406335 w 9595474"/>
              <a:gd name="connsiteY177" fmla="*/ 402908 h 6858000"/>
              <a:gd name="connsiteX178" fmla="*/ 1411656 w 9595474"/>
              <a:gd name="connsiteY178" fmla="*/ 405130 h 6858000"/>
              <a:gd name="connsiteX179" fmla="*/ 1416976 w 9595474"/>
              <a:gd name="connsiteY179" fmla="*/ 407988 h 6858000"/>
              <a:gd name="connsiteX180" fmla="*/ 1422296 w 9595474"/>
              <a:gd name="connsiteY180" fmla="*/ 410845 h 6858000"/>
              <a:gd name="connsiteX181" fmla="*/ 1427617 w 9595474"/>
              <a:gd name="connsiteY181" fmla="*/ 414338 h 6858000"/>
              <a:gd name="connsiteX182" fmla="*/ 1432641 w 9595474"/>
              <a:gd name="connsiteY182" fmla="*/ 417830 h 6858000"/>
              <a:gd name="connsiteX183" fmla="*/ 1437666 w 9595474"/>
              <a:gd name="connsiteY183" fmla="*/ 421323 h 6858000"/>
              <a:gd name="connsiteX184" fmla="*/ 1442100 w 9595474"/>
              <a:gd name="connsiteY184" fmla="*/ 425768 h 6858000"/>
              <a:gd name="connsiteX185" fmla="*/ 1446829 w 9595474"/>
              <a:gd name="connsiteY185" fmla="*/ 429895 h 6858000"/>
              <a:gd name="connsiteX186" fmla="*/ 1907036 w 9595474"/>
              <a:gd name="connsiteY186" fmla="*/ 890270 h 6858000"/>
              <a:gd name="connsiteX187" fmla="*/ 2165662 w 9595474"/>
              <a:gd name="connsiteY187" fmla="*/ 1148715 h 6858000"/>
              <a:gd name="connsiteX188" fmla="*/ 2170391 w 9595474"/>
              <a:gd name="connsiteY188" fmla="*/ 1153160 h 6858000"/>
              <a:gd name="connsiteX189" fmla="*/ 2175416 w 9595474"/>
              <a:gd name="connsiteY189" fmla="*/ 1157288 h 6858000"/>
              <a:gd name="connsiteX190" fmla="*/ 2180145 w 9595474"/>
              <a:gd name="connsiteY190" fmla="*/ 1161098 h 6858000"/>
              <a:gd name="connsiteX191" fmla="*/ 2185170 w 9595474"/>
              <a:gd name="connsiteY191" fmla="*/ 1164590 h 6858000"/>
              <a:gd name="connsiteX192" fmla="*/ 2190490 w 9595474"/>
              <a:gd name="connsiteY192" fmla="*/ 1167765 h 6858000"/>
              <a:gd name="connsiteX193" fmla="*/ 2195810 w 9595474"/>
              <a:gd name="connsiteY193" fmla="*/ 1170623 h 6858000"/>
              <a:gd name="connsiteX194" fmla="*/ 2201130 w 9595474"/>
              <a:gd name="connsiteY194" fmla="*/ 1173480 h 6858000"/>
              <a:gd name="connsiteX195" fmla="*/ 2206746 w 9595474"/>
              <a:gd name="connsiteY195" fmla="*/ 1176020 h 6858000"/>
              <a:gd name="connsiteX196" fmla="*/ 2212362 w 9595474"/>
              <a:gd name="connsiteY196" fmla="*/ 1177925 h 6858000"/>
              <a:gd name="connsiteX197" fmla="*/ 2217683 w 9595474"/>
              <a:gd name="connsiteY197" fmla="*/ 1180148 h 6858000"/>
              <a:gd name="connsiteX198" fmla="*/ 2223594 w 9595474"/>
              <a:gd name="connsiteY198" fmla="*/ 1181418 h 6858000"/>
              <a:gd name="connsiteX199" fmla="*/ 2229505 w 9595474"/>
              <a:gd name="connsiteY199" fmla="*/ 1182688 h 6858000"/>
              <a:gd name="connsiteX200" fmla="*/ 2235417 w 9595474"/>
              <a:gd name="connsiteY200" fmla="*/ 1183640 h 6858000"/>
              <a:gd name="connsiteX201" fmla="*/ 2241033 w 9595474"/>
              <a:gd name="connsiteY201" fmla="*/ 1184275 h 6858000"/>
              <a:gd name="connsiteX202" fmla="*/ 2247240 w 9595474"/>
              <a:gd name="connsiteY202" fmla="*/ 1184593 h 6858000"/>
              <a:gd name="connsiteX203" fmla="*/ 2252856 w 9595474"/>
              <a:gd name="connsiteY203" fmla="*/ 1185228 h 6858000"/>
              <a:gd name="connsiteX204" fmla="*/ 2259063 w 9595474"/>
              <a:gd name="connsiteY204" fmla="*/ 1184593 h 6858000"/>
              <a:gd name="connsiteX205" fmla="*/ 2264679 w 9595474"/>
              <a:gd name="connsiteY205" fmla="*/ 1184275 h 6858000"/>
              <a:gd name="connsiteX206" fmla="*/ 2270590 w 9595474"/>
              <a:gd name="connsiteY206" fmla="*/ 1183640 h 6858000"/>
              <a:gd name="connsiteX207" fmla="*/ 2276797 w 9595474"/>
              <a:gd name="connsiteY207" fmla="*/ 1182688 h 6858000"/>
              <a:gd name="connsiteX208" fmla="*/ 2282413 w 9595474"/>
              <a:gd name="connsiteY208" fmla="*/ 1181418 h 6858000"/>
              <a:gd name="connsiteX209" fmla="*/ 2288029 w 9595474"/>
              <a:gd name="connsiteY209" fmla="*/ 1180148 h 6858000"/>
              <a:gd name="connsiteX210" fmla="*/ 2293940 w 9595474"/>
              <a:gd name="connsiteY210" fmla="*/ 1177925 h 6858000"/>
              <a:gd name="connsiteX211" fmla="*/ 2299261 w 9595474"/>
              <a:gd name="connsiteY211" fmla="*/ 1176020 h 6858000"/>
              <a:gd name="connsiteX212" fmla="*/ 2304581 w 9595474"/>
              <a:gd name="connsiteY212" fmla="*/ 1173480 h 6858000"/>
              <a:gd name="connsiteX213" fmla="*/ 2310492 w 9595474"/>
              <a:gd name="connsiteY213" fmla="*/ 1170623 h 6858000"/>
              <a:gd name="connsiteX214" fmla="*/ 2315517 w 9595474"/>
              <a:gd name="connsiteY214" fmla="*/ 1167765 h 6858000"/>
              <a:gd name="connsiteX215" fmla="*/ 2320837 w 9595474"/>
              <a:gd name="connsiteY215" fmla="*/ 1164590 h 6858000"/>
              <a:gd name="connsiteX216" fmla="*/ 2325862 w 9595474"/>
              <a:gd name="connsiteY216" fmla="*/ 1161098 h 6858000"/>
              <a:gd name="connsiteX217" fmla="*/ 2330887 w 9595474"/>
              <a:gd name="connsiteY217" fmla="*/ 1157288 h 6858000"/>
              <a:gd name="connsiteX218" fmla="*/ 2335616 w 9595474"/>
              <a:gd name="connsiteY218" fmla="*/ 1153160 h 6858000"/>
              <a:gd name="connsiteX219" fmla="*/ 2340345 w 9595474"/>
              <a:gd name="connsiteY219" fmla="*/ 1148715 h 6858000"/>
              <a:gd name="connsiteX220" fmla="*/ 2344483 w 9595474"/>
              <a:gd name="connsiteY220" fmla="*/ 1144270 h 6858000"/>
              <a:gd name="connsiteX221" fmla="*/ 2348621 w 9595474"/>
              <a:gd name="connsiteY221" fmla="*/ 1139508 h 6858000"/>
              <a:gd name="connsiteX222" fmla="*/ 2352464 w 9595474"/>
              <a:gd name="connsiteY222" fmla="*/ 1134428 h 6858000"/>
              <a:gd name="connsiteX223" fmla="*/ 2356011 w 9595474"/>
              <a:gd name="connsiteY223" fmla="*/ 1129348 h 6858000"/>
              <a:gd name="connsiteX224" fmla="*/ 2359262 w 9595474"/>
              <a:gd name="connsiteY224" fmla="*/ 1124268 h 6858000"/>
              <a:gd name="connsiteX225" fmla="*/ 2362218 w 9595474"/>
              <a:gd name="connsiteY225" fmla="*/ 1118870 h 6858000"/>
              <a:gd name="connsiteX226" fmla="*/ 2364582 w 9595474"/>
              <a:gd name="connsiteY226" fmla="*/ 1113473 h 6858000"/>
              <a:gd name="connsiteX227" fmla="*/ 2367242 w 9595474"/>
              <a:gd name="connsiteY227" fmla="*/ 1108075 h 6858000"/>
              <a:gd name="connsiteX228" fmla="*/ 2369311 w 9595474"/>
              <a:gd name="connsiteY228" fmla="*/ 1102360 h 6858000"/>
              <a:gd name="connsiteX229" fmla="*/ 2371085 w 9595474"/>
              <a:gd name="connsiteY229" fmla="*/ 1096645 h 6858000"/>
              <a:gd name="connsiteX230" fmla="*/ 2372563 w 9595474"/>
              <a:gd name="connsiteY230" fmla="*/ 1090930 h 6858000"/>
              <a:gd name="connsiteX231" fmla="*/ 2374041 w 9595474"/>
              <a:gd name="connsiteY231" fmla="*/ 1085215 h 6858000"/>
              <a:gd name="connsiteX232" fmla="*/ 2375223 w 9595474"/>
              <a:gd name="connsiteY232" fmla="*/ 1079500 h 6858000"/>
              <a:gd name="connsiteX233" fmla="*/ 2375814 w 9595474"/>
              <a:gd name="connsiteY233" fmla="*/ 1073785 h 6858000"/>
              <a:gd name="connsiteX234" fmla="*/ 2376110 w 9595474"/>
              <a:gd name="connsiteY234" fmla="*/ 1067753 h 6858000"/>
              <a:gd name="connsiteX235" fmla="*/ 2376110 w 9595474"/>
              <a:gd name="connsiteY235" fmla="*/ 1061720 h 6858000"/>
              <a:gd name="connsiteX236" fmla="*/ 2376110 w 9595474"/>
              <a:gd name="connsiteY236" fmla="*/ 1055688 h 6858000"/>
              <a:gd name="connsiteX237" fmla="*/ 2375814 w 9595474"/>
              <a:gd name="connsiteY237" fmla="*/ 1049973 h 6858000"/>
              <a:gd name="connsiteX238" fmla="*/ 2375223 w 9595474"/>
              <a:gd name="connsiteY238" fmla="*/ 1043940 h 6858000"/>
              <a:gd name="connsiteX239" fmla="*/ 2374041 w 9595474"/>
              <a:gd name="connsiteY239" fmla="*/ 1038225 h 6858000"/>
              <a:gd name="connsiteX240" fmla="*/ 2372563 w 9595474"/>
              <a:gd name="connsiteY240" fmla="*/ 1032510 h 6858000"/>
              <a:gd name="connsiteX241" fmla="*/ 2371085 w 9595474"/>
              <a:gd name="connsiteY241" fmla="*/ 1026795 h 6858000"/>
              <a:gd name="connsiteX242" fmla="*/ 2369311 w 9595474"/>
              <a:gd name="connsiteY242" fmla="*/ 1021080 h 6858000"/>
              <a:gd name="connsiteX243" fmla="*/ 2367242 w 9595474"/>
              <a:gd name="connsiteY243" fmla="*/ 1015683 h 6858000"/>
              <a:gd name="connsiteX244" fmla="*/ 2364582 w 9595474"/>
              <a:gd name="connsiteY244" fmla="*/ 1009650 h 6858000"/>
              <a:gd name="connsiteX245" fmla="*/ 2362218 w 9595474"/>
              <a:gd name="connsiteY245" fmla="*/ 1004253 h 6858000"/>
              <a:gd name="connsiteX246" fmla="*/ 2359262 w 9595474"/>
              <a:gd name="connsiteY246" fmla="*/ 998855 h 6858000"/>
              <a:gd name="connsiteX247" fmla="*/ 2356011 w 9595474"/>
              <a:gd name="connsiteY247" fmla="*/ 994093 h 6858000"/>
              <a:gd name="connsiteX248" fmla="*/ 2352464 w 9595474"/>
              <a:gd name="connsiteY248" fmla="*/ 989013 h 6858000"/>
              <a:gd name="connsiteX249" fmla="*/ 2348621 w 9595474"/>
              <a:gd name="connsiteY249" fmla="*/ 983933 h 6858000"/>
              <a:gd name="connsiteX250" fmla="*/ 2344483 w 9595474"/>
              <a:gd name="connsiteY250" fmla="*/ 979170 h 6858000"/>
              <a:gd name="connsiteX251" fmla="*/ 2340345 w 9595474"/>
              <a:gd name="connsiteY251" fmla="*/ 974725 h 6858000"/>
              <a:gd name="connsiteX252" fmla="*/ 2240737 w 9595474"/>
              <a:gd name="connsiteY252" fmla="*/ 875030 h 6858000"/>
              <a:gd name="connsiteX253" fmla="*/ 1991865 w 9595474"/>
              <a:gd name="connsiteY253" fmla="*/ 626428 h 6858000"/>
              <a:gd name="connsiteX254" fmla="*/ 1987431 w 9595474"/>
              <a:gd name="connsiteY254" fmla="*/ 621665 h 6858000"/>
              <a:gd name="connsiteX255" fmla="*/ 1983589 w 9595474"/>
              <a:gd name="connsiteY255" fmla="*/ 616903 h 6858000"/>
              <a:gd name="connsiteX256" fmla="*/ 1979451 w 9595474"/>
              <a:gd name="connsiteY256" fmla="*/ 612140 h 6858000"/>
              <a:gd name="connsiteX257" fmla="*/ 1975904 w 9595474"/>
              <a:gd name="connsiteY257" fmla="*/ 607060 h 6858000"/>
              <a:gd name="connsiteX258" fmla="*/ 1972653 w 9595474"/>
              <a:gd name="connsiteY258" fmla="*/ 601663 h 6858000"/>
              <a:gd name="connsiteX259" fmla="*/ 1969993 w 9595474"/>
              <a:gd name="connsiteY259" fmla="*/ 596265 h 6858000"/>
              <a:gd name="connsiteX260" fmla="*/ 1967037 w 9595474"/>
              <a:gd name="connsiteY260" fmla="*/ 590868 h 6858000"/>
              <a:gd name="connsiteX261" fmla="*/ 1964968 w 9595474"/>
              <a:gd name="connsiteY261" fmla="*/ 585470 h 6858000"/>
              <a:gd name="connsiteX262" fmla="*/ 1962603 w 9595474"/>
              <a:gd name="connsiteY262" fmla="*/ 579755 h 6858000"/>
              <a:gd name="connsiteX263" fmla="*/ 1960830 w 9595474"/>
              <a:gd name="connsiteY263" fmla="*/ 574358 h 6858000"/>
              <a:gd name="connsiteX264" fmla="*/ 1959056 w 9595474"/>
              <a:gd name="connsiteY264" fmla="*/ 568643 h 6858000"/>
              <a:gd name="connsiteX265" fmla="*/ 1958170 w 9595474"/>
              <a:gd name="connsiteY265" fmla="*/ 562610 h 6858000"/>
              <a:gd name="connsiteX266" fmla="*/ 1956987 w 9595474"/>
              <a:gd name="connsiteY266" fmla="*/ 556895 h 6858000"/>
              <a:gd name="connsiteX267" fmla="*/ 1956396 w 9595474"/>
              <a:gd name="connsiteY267" fmla="*/ 551180 h 6858000"/>
              <a:gd name="connsiteX268" fmla="*/ 1955805 w 9595474"/>
              <a:gd name="connsiteY268" fmla="*/ 544830 h 6858000"/>
              <a:gd name="connsiteX269" fmla="*/ 1955805 w 9595474"/>
              <a:gd name="connsiteY269" fmla="*/ 539115 h 6858000"/>
              <a:gd name="connsiteX270" fmla="*/ 1955805 w 9595474"/>
              <a:gd name="connsiteY270" fmla="*/ 533083 h 6858000"/>
              <a:gd name="connsiteX271" fmla="*/ 1956396 w 9595474"/>
              <a:gd name="connsiteY271" fmla="*/ 527368 h 6858000"/>
              <a:gd name="connsiteX272" fmla="*/ 1956987 w 9595474"/>
              <a:gd name="connsiteY272" fmla="*/ 521653 h 6858000"/>
              <a:gd name="connsiteX273" fmla="*/ 1958170 w 9595474"/>
              <a:gd name="connsiteY273" fmla="*/ 515620 h 6858000"/>
              <a:gd name="connsiteX274" fmla="*/ 1959056 w 9595474"/>
              <a:gd name="connsiteY274" fmla="*/ 509588 h 6858000"/>
              <a:gd name="connsiteX275" fmla="*/ 1960830 w 9595474"/>
              <a:gd name="connsiteY275" fmla="*/ 503873 h 6858000"/>
              <a:gd name="connsiteX276" fmla="*/ 1962603 w 9595474"/>
              <a:gd name="connsiteY276" fmla="*/ 498158 h 6858000"/>
              <a:gd name="connsiteX277" fmla="*/ 1964968 w 9595474"/>
              <a:gd name="connsiteY277" fmla="*/ 492760 h 6858000"/>
              <a:gd name="connsiteX278" fmla="*/ 1967037 w 9595474"/>
              <a:gd name="connsiteY278" fmla="*/ 487363 h 6858000"/>
              <a:gd name="connsiteX279" fmla="*/ 1969993 w 9595474"/>
              <a:gd name="connsiteY279" fmla="*/ 481648 h 6858000"/>
              <a:gd name="connsiteX280" fmla="*/ 1972653 w 9595474"/>
              <a:gd name="connsiteY280" fmla="*/ 476568 h 6858000"/>
              <a:gd name="connsiteX281" fmla="*/ 1975904 w 9595474"/>
              <a:gd name="connsiteY281" fmla="*/ 471170 h 6858000"/>
              <a:gd name="connsiteX282" fmla="*/ 1979451 w 9595474"/>
              <a:gd name="connsiteY282" fmla="*/ 466408 h 6858000"/>
              <a:gd name="connsiteX283" fmla="*/ 1983589 w 9595474"/>
              <a:gd name="connsiteY283" fmla="*/ 461328 h 6858000"/>
              <a:gd name="connsiteX284" fmla="*/ 1987431 w 9595474"/>
              <a:gd name="connsiteY284" fmla="*/ 456565 h 6858000"/>
              <a:gd name="connsiteX285" fmla="*/ 1991865 w 9595474"/>
              <a:gd name="connsiteY285" fmla="*/ 451803 h 6858000"/>
              <a:gd name="connsiteX286" fmla="*/ 1996594 w 9595474"/>
              <a:gd name="connsiteY286" fmla="*/ 447675 h 6858000"/>
              <a:gd name="connsiteX287" fmla="*/ 2001028 w 9595474"/>
              <a:gd name="connsiteY287" fmla="*/ 443548 h 6858000"/>
              <a:gd name="connsiteX288" fmla="*/ 2006052 w 9595474"/>
              <a:gd name="connsiteY288" fmla="*/ 439738 h 6858000"/>
              <a:gd name="connsiteX289" fmla="*/ 2011077 w 9595474"/>
              <a:gd name="connsiteY289" fmla="*/ 436245 h 6858000"/>
              <a:gd name="connsiteX290" fmla="*/ 2016102 w 9595474"/>
              <a:gd name="connsiteY290" fmla="*/ 432753 h 6858000"/>
              <a:gd name="connsiteX291" fmla="*/ 2021718 w 9595474"/>
              <a:gd name="connsiteY291" fmla="*/ 429895 h 6858000"/>
              <a:gd name="connsiteX292" fmla="*/ 2027038 w 9595474"/>
              <a:gd name="connsiteY292" fmla="*/ 427355 h 6858000"/>
              <a:gd name="connsiteX293" fmla="*/ 2032654 w 9595474"/>
              <a:gd name="connsiteY293" fmla="*/ 424815 h 6858000"/>
              <a:gd name="connsiteX294" fmla="*/ 2038270 w 9595474"/>
              <a:gd name="connsiteY294" fmla="*/ 422910 h 6858000"/>
              <a:gd name="connsiteX295" fmla="*/ 2043886 w 9595474"/>
              <a:gd name="connsiteY295" fmla="*/ 421005 h 6858000"/>
              <a:gd name="connsiteX296" fmla="*/ 2049502 w 9595474"/>
              <a:gd name="connsiteY296" fmla="*/ 419735 h 6858000"/>
              <a:gd name="connsiteX297" fmla="*/ 2055413 w 9595474"/>
              <a:gd name="connsiteY297" fmla="*/ 418148 h 6858000"/>
              <a:gd name="connsiteX298" fmla="*/ 2061029 w 9595474"/>
              <a:gd name="connsiteY298" fmla="*/ 417195 h 6858000"/>
              <a:gd name="connsiteX299" fmla="*/ 2067236 w 9595474"/>
              <a:gd name="connsiteY299" fmla="*/ 416243 h 6858000"/>
              <a:gd name="connsiteX300" fmla="*/ 2072852 w 9595474"/>
              <a:gd name="connsiteY300" fmla="*/ 415925 h 6858000"/>
              <a:gd name="connsiteX301" fmla="*/ 2079059 w 9595474"/>
              <a:gd name="connsiteY301" fmla="*/ 415925 h 6858000"/>
              <a:gd name="connsiteX302" fmla="*/ 2084970 w 9595474"/>
              <a:gd name="connsiteY302" fmla="*/ 415925 h 6858000"/>
              <a:gd name="connsiteX303" fmla="*/ 2090882 w 9595474"/>
              <a:gd name="connsiteY303" fmla="*/ 416243 h 6858000"/>
              <a:gd name="connsiteX304" fmla="*/ 2096793 w 9595474"/>
              <a:gd name="connsiteY304" fmla="*/ 417195 h 6858000"/>
              <a:gd name="connsiteX305" fmla="*/ 2102409 w 9595474"/>
              <a:gd name="connsiteY305" fmla="*/ 418148 h 6858000"/>
              <a:gd name="connsiteX306" fmla="*/ 2108321 w 9595474"/>
              <a:gd name="connsiteY306" fmla="*/ 419735 h 6858000"/>
              <a:gd name="connsiteX307" fmla="*/ 2113936 w 9595474"/>
              <a:gd name="connsiteY307" fmla="*/ 421005 h 6858000"/>
              <a:gd name="connsiteX308" fmla="*/ 2119552 w 9595474"/>
              <a:gd name="connsiteY308" fmla="*/ 422910 h 6858000"/>
              <a:gd name="connsiteX309" fmla="*/ 2125464 w 9595474"/>
              <a:gd name="connsiteY309" fmla="*/ 424815 h 6858000"/>
              <a:gd name="connsiteX310" fmla="*/ 2130784 w 9595474"/>
              <a:gd name="connsiteY310" fmla="*/ 427355 h 6858000"/>
              <a:gd name="connsiteX311" fmla="*/ 2136104 w 9595474"/>
              <a:gd name="connsiteY311" fmla="*/ 429895 h 6858000"/>
              <a:gd name="connsiteX312" fmla="*/ 2141720 w 9595474"/>
              <a:gd name="connsiteY312" fmla="*/ 432753 h 6858000"/>
              <a:gd name="connsiteX313" fmla="*/ 2146745 w 9595474"/>
              <a:gd name="connsiteY313" fmla="*/ 436245 h 6858000"/>
              <a:gd name="connsiteX314" fmla="*/ 2152065 w 9595474"/>
              <a:gd name="connsiteY314" fmla="*/ 439738 h 6858000"/>
              <a:gd name="connsiteX315" fmla="*/ 2156795 w 9595474"/>
              <a:gd name="connsiteY315" fmla="*/ 443548 h 6858000"/>
              <a:gd name="connsiteX316" fmla="*/ 2161819 w 9595474"/>
              <a:gd name="connsiteY316" fmla="*/ 447675 h 6858000"/>
              <a:gd name="connsiteX317" fmla="*/ 2165957 w 9595474"/>
              <a:gd name="connsiteY317" fmla="*/ 451803 h 6858000"/>
              <a:gd name="connsiteX318" fmla="*/ 2966073 w 9595474"/>
              <a:gd name="connsiteY318" fmla="*/ 1251903 h 6858000"/>
              <a:gd name="connsiteX319" fmla="*/ 5612631 w 9595474"/>
              <a:gd name="connsiteY319" fmla="*/ 3898583 h 6858000"/>
              <a:gd name="connsiteX320" fmla="*/ 5617360 w 9595474"/>
              <a:gd name="connsiteY320" fmla="*/ 3903345 h 6858000"/>
              <a:gd name="connsiteX321" fmla="*/ 5621498 w 9595474"/>
              <a:gd name="connsiteY321" fmla="*/ 3908425 h 6858000"/>
              <a:gd name="connsiteX322" fmla="*/ 5625341 w 9595474"/>
              <a:gd name="connsiteY322" fmla="*/ 3913505 h 6858000"/>
              <a:gd name="connsiteX323" fmla="*/ 5628888 w 9595474"/>
              <a:gd name="connsiteY323" fmla="*/ 3918585 h 6858000"/>
              <a:gd name="connsiteX324" fmla="*/ 5632139 w 9595474"/>
              <a:gd name="connsiteY324" fmla="*/ 3923348 h 6858000"/>
              <a:gd name="connsiteX325" fmla="*/ 5635094 w 9595474"/>
              <a:gd name="connsiteY325" fmla="*/ 3928745 h 6858000"/>
              <a:gd name="connsiteX326" fmla="*/ 5638050 w 9595474"/>
              <a:gd name="connsiteY326" fmla="*/ 3934460 h 6858000"/>
              <a:gd name="connsiteX327" fmla="*/ 5640415 w 9595474"/>
              <a:gd name="connsiteY327" fmla="*/ 3939858 h 6858000"/>
              <a:gd name="connsiteX328" fmla="*/ 5642484 w 9595474"/>
              <a:gd name="connsiteY328" fmla="*/ 3945890 h 6858000"/>
              <a:gd name="connsiteX329" fmla="*/ 5644257 w 9595474"/>
              <a:gd name="connsiteY329" fmla="*/ 3951605 h 6858000"/>
              <a:gd name="connsiteX330" fmla="*/ 5645735 w 9595474"/>
              <a:gd name="connsiteY330" fmla="*/ 3957320 h 6858000"/>
              <a:gd name="connsiteX331" fmla="*/ 5647213 w 9595474"/>
              <a:gd name="connsiteY331" fmla="*/ 3963353 h 6858000"/>
              <a:gd name="connsiteX332" fmla="*/ 5648100 w 9595474"/>
              <a:gd name="connsiteY332" fmla="*/ 3969068 h 6858000"/>
              <a:gd name="connsiteX333" fmla="*/ 5648691 w 9595474"/>
              <a:gd name="connsiteY333" fmla="*/ 3975100 h 6858000"/>
              <a:gd name="connsiteX334" fmla="*/ 5649282 w 9595474"/>
              <a:gd name="connsiteY334" fmla="*/ 3980815 h 6858000"/>
              <a:gd name="connsiteX335" fmla="*/ 5649282 w 9595474"/>
              <a:gd name="connsiteY335" fmla="*/ 3987165 h 6858000"/>
              <a:gd name="connsiteX336" fmla="*/ 5649282 w 9595474"/>
              <a:gd name="connsiteY336" fmla="*/ 3992880 h 6858000"/>
              <a:gd name="connsiteX337" fmla="*/ 5648691 w 9595474"/>
              <a:gd name="connsiteY337" fmla="*/ 3998913 h 6858000"/>
              <a:gd name="connsiteX338" fmla="*/ 5648100 w 9595474"/>
              <a:gd name="connsiteY338" fmla="*/ 4004945 h 6858000"/>
              <a:gd name="connsiteX339" fmla="*/ 5647213 w 9595474"/>
              <a:gd name="connsiteY339" fmla="*/ 4010660 h 6858000"/>
              <a:gd name="connsiteX340" fmla="*/ 5645735 w 9595474"/>
              <a:gd name="connsiteY340" fmla="*/ 4016375 h 6858000"/>
              <a:gd name="connsiteX341" fmla="*/ 5644257 w 9595474"/>
              <a:gd name="connsiteY341" fmla="*/ 4022725 h 6858000"/>
              <a:gd name="connsiteX342" fmla="*/ 5642484 w 9595474"/>
              <a:gd name="connsiteY342" fmla="*/ 4028440 h 6858000"/>
              <a:gd name="connsiteX343" fmla="*/ 5640415 w 9595474"/>
              <a:gd name="connsiteY343" fmla="*/ 4033838 h 6858000"/>
              <a:gd name="connsiteX344" fmla="*/ 5638050 w 9595474"/>
              <a:gd name="connsiteY344" fmla="*/ 4039553 h 6858000"/>
              <a:gd name="connsiteX345" fmla="*/ 5635094 w 9595474"/>
              <a:gd name="connsiteY345" fmla="*/ 4044950 h 6858000"/>
              <a:gd name="connsiteX346" fmla="*/ 5632139 w 9595474"/>
              <a:gd name="connsiteY346" fmla="*/ 4050348 h 6858000"/>
              <a:gd name="connsiteX347" fmla="*/ 5628888 w 9595474"/>
              <a:gd name="connsiteY347" fmla="*/ 4055745 h 6858000"/>
              <a:gd name="connsiteX348" fmla="*/ 5625341 w 9595474"/>
              <a:gd name="connsiteY348" fmla="*/ 4060825 h 6858000"/>
              <a:gd name="connsiteX349" fmla="*/ 5621498 w 9595474"/>
              <a:gd name="connsiteY349" fmla="*/ 4065588 h 6858000"/>
              <a:gd name="connsiteX350" fmla="*/ 5617360 w 9595474"/>
              <a:gd name="connsiteY350" fmla="*/ 4070350 h 6858000"/>
              <a:gd name="connsiteX351" fmla="*/ 5612631 w 9595474"/>
              <a:gd name="connsiteY351" fmla="*/ 4075113 h 6858000"/>
              <a:gd name="connsiteX352" fmla="*/ 5608198 w 9595474"/>
              <a:gd name="connsiteY352" fmla="*/ 4079875 h 6858000"/>
              <a:gd name="connsiteX353" fmla="*/ 5603468 w 9595474"/>
              <a:gd name="connsiteY353" fmla="*/ 4083685 h 6858000"/>
              <a:gd name="connsiteX354" fmla="*/ 5598443 w 9595474"/>
              <a:gd name="connsiteY354" fmla="*/ 4087495 h 6858000"/>
              <a:gd name="connsiteX355" fmla="*/ 5593419 w 9595474"/>
              <a:gd name="connsiteY355" fmla="*/ 4091305 h 6858000"/>
              <a:gd name="connsiteX356" fmla="*/ 5588098 w 9595474"/>
              <a:gd name="connsiteY356" fmla="*/ 4094480 h 6858000"/>
              <a:gd name="connsiteX357" fmla="*/ 5582482 w 9595474"/>
              <a:gd name="connsiteY357" fmla="*/ 4097338 h 6858000"/>
              <a:gd name="connsiteX358" fmla="*/ 5577162 w 9595474"/>
              <a:gd name="connsiteY358" fmla="*/ 4100195 h 6858000"/>
              <a:gd name="connsiteX359" fmla="*/ 5571842 w 9595474"/>
              <a:gd name="connsiteY359" fmla="*/ 4102418 h 6858000"/>
              <a:gd name="connsiteX360" fmla="*/ 5565931 w 9595474"/>
              <a:gd name="connsiteY360" fmla="*/ 4104640 h 6858000"/>
              <a:gd name="connsiteX361" fmla="*/ 5560315 w 9595474"/>
              <a:gd name="connsiteY361" fmla="*/ 4106545 h 6858000"/>
              <a:gd name="connsiteX362" fmla="*/ 5554699 w 9595474"/>
              <a:gd name="connsiteY362" fmla="*/ 4108133 h 6858000"/>
              <a:gd name="connsiteX363" fmla="*/ 5548492 w 9595474"/>
              <a:gd name="connsiteY363" fmla="*/ 4109403 h 6858000"/>
              <a:gd name="connsiteX364" fmla="*/ 5542580 w 9595474"/>
              <a:gd name="connsiteY364" fmla="*/ 4110355 h 6858000"/>
              <a:gd name="connsiteX365" fmla="*/ 5536669 w 9595474"/>
              <a:gd name="connsiteY365" fmla="*/ 4110990 h 6858000"/>
              <a:gd name="connsiteX366" fmla="*/ 5530758 w 9595474"/>
              <a:gd name="connsiteY366" fmla="*/ 4111308 h 6858000"/>
              <a:gd name="connsiteX367" fmla="*/ 5524846 w 9595474"/>
              <a:gd name="connsiteY367" fmla="*/ 4111625 h 6858000"/>
              <a:gd name="connsiteX368" fmla="*/ 5518639 w 9595474"/>
              <a:gd name="connsiteY368" fmla="*/ 4111308 h 6858000"/>
              <a:gd name="connsiteX369" fmla="*/ 5513023 w 9595474"/>
              <a:gd name="connsiteY369" fmla="*/ 4110990 h 6858000"/>
              <a:gd name="connsiteX370" fmla="*/ 5506816 w 9595474"/>
              <a:gd name="connsiteY370" fmla="*/ 4110355 h 6858000"/>
              <a:gd name="connsiteX371" fmla="*/ 5501200 w 9595474"/>
              <a:gd name="connsiteY371" fmla="*/ 4109403 h 6858000"/>
              <a:gd name="connsiteX372" fmla="*/ 5494993 w 9595474"/>
              <a:gd name="connsiteY372" fmla="*/ 4108133 h 6858000"/>
              <a:gd name="connsiteX373" fmla="*/ 5489081 w 9595474"/>
              <a:gd name="connsiteY373" fmla="*/ 4106545 h 6858000"/>
              <a:gd name="connsiteX374" fmla="*/ 5483466 w 9595474"/>
              <a:gd name="connsiteY374" fmla="*/ 4104640 h 6858000"/>
              <a:gd name="connsiteX375" fmla="*/ 5477850 w 9595474"/>
              <a:gd name="connsiteY375" fmla="*/ 4102418 h 6858000"/>
              <a:gd name="connsiteX376" fmla="*/ 5472234 w 9595474"/>
              <a:gd name="connsiteY376" fmla="*/ 4100195 h 6858000"/>
              <a:gd name="connsiteX377" fmla="*/ 5466913 w 9595474"/>
              <a:gd name="connsiteY377" fmla="*/ 4097338 h 6858000"/>
              <a:gd name="connsiteX378" fmla="*/ 5461593 w 9595474"/>
              <a:gd name="connsiteY378" fmla="*/ 4094480 h 6858000"/>
              <a:gd name="connsiteX379" fmla="*/ 5456273 w 9595474"/>
              <a:gd name="connsiteY379" fmla="*/ 4091305 h 6858000"/>
              <a:gd name="connsiteX380" fmla="*/ 5451248 w 9595474"/>
              <a:gd name="connsiteY380" fmla="*/ 4087495 h 6858000"/>
              <a:gd name="connsiteX381" fmla="*/ 5446223 w 9595474"/>
              <a:gd name="connsiteY381" fmla="*/ 4083685 h 6858000"/>
              <a:gd name="connsiteX382" fmla="*/ 5441495 w 9595474"/>
              <a:gd name="connsiteY382" fmla="*/ 4079875 h 6858000"/>
              <a:gd name="connsiteX383" fmla="*/ 5436765 w 9595474"/>
              <a:gd name="connsiteY383" fmla="*/ 4075113 h 6858000"/>
              <a:gd name="connsiteX384" fmla="*/ 5322379 w 9595474"/>
              <a:gd name="connsiteY384" fmla="*/ 3960813 h 6858000"/>
              <a:gd name="connsiteX385" fmla="*/ 5317945 w 9595474"/>
              <a:gd name="connsiteY385" fmla="*/ 3956368 h 6858000"/>
              <a:gd name="connsiteX386" fmla="*/ 5312921 w 9595474"/>
              <a:gd name="connsiteY386" fmla="*/ 3952240 h 6858000"/>
              <a:gd name="connsiteX387" fmla="*/ 5307896 w 9595474"/>
              <a:gd name="connsiteY387" fmla="*/ 3948748 h 6858000"/>
              <a:gd name="connsiteX388" fmla="*/ 5302871 w 9595474"/>
              <a:gd name="connsiteY388" fmla="*/ 3944938 h 6858000"/>
              <a:gd name="connsiteX389" fmla="*/ 5297255 w 9595474"/>
              <a:gd name="connsiteY389" fmla="*/ 3941763 h 6858000"/>
              <a:gd name="connsiteX390" fmla="*/ 5292230 w 9595474"/>
              <a:gd name="connsiteY390" fmla="*/ 3938588 h 6858000"/>
              <a:gd name="connsiteX391" fmla="*/ 5286615 w 9595474"/>
              <a:gd name="connsiteY391" fmla="*/ 3936048 h 6858000"/>
              <a:gd name="connsiteX392" fmla="*/ 5281294 w 9595474"/>
              <a:gd name="connsiteY392" fmla="*/ 3933508 h 6858000"/>
              <a:gd name="connsiteX393" fmla="*/ 5275383 w 9595474"/>
              <a:gd name="connsiteY393" fmla="*/ 3931285 h 6858000"/>
              <a:gd name="connsiteX394" fmla="*/ 5269767 w 9595474"/>
              <a:gd name="connsiteY394" fmla="*/ 3929698 h 6858000"/>
              <a:gd name="connsiteX395" fmla="*/ 5263855 w 9595474"/>
              <a:gd name="connsiteY395" fmla="*/ 3927793 h 6858000"/>
              <a:gd name="connsiteX396" fmla="*/ 5257944 w 9595474"/>
              <a:gd name="connsiteY396" fmla="*/ 3926840 h 6858000"/>
              <a:gd name="connsiteX397" fmla="*/ 5252033 w 9595474"/>
              <a:gd name="connsiteY397" fmla="*/ 3925570 h 6858000"/>
              <a:gd name="connsiteX398" fmla="*/ 5246121 w 9595474"/>
              <a:gd name="connsiteY398" fmla="*/ 3924935 h 6858000"/>
              <a:gd name="connsiteX399" fmla="*/ 5240210 w 9595474"/>
              <a:gd name="connsiteY399" fmla="*/ 3924618 h 6858000"/>
              <a:gd name="connsiteX400" fmla="*/ 5234298 w 9595474"/>
              <a:gd name="connsiteY400" fmla="*/ 3924618 h 6858000"/>
              <a:gd name="connsiteX401" fmla="*/ 5228091 w 9595474"/>
              <a:gd name="connsiteY401" fmla="*/ 3924618 h 6858000"/>
              <a:gd name="connsiteX402" fmla="*/ 5222180 w 9595474"/>
              <a:gd name="connsiteY402" fmla="*/ 3924935 h 6858000"/>
              <a:gd name="connsiteX403" fmla="*/ 5216268 w 9595474"/>
              <a:gd name="connsiteY403" fmla="*/ 3925570 h 6858000"/>
              <a:gd name="connsiteX404" fmla="*/ 5210357 w 9595474"/>
              <a:gd name="connsiteY404" fmla="*/ 3926840 h 6858000"/>
              <a:gd name="connsiteX405" fmla="*/ 5204741 w 9595474"/>
              <a:gd name="connsiteY405" fmla="*/ 3927793 h 6858000"/>
              <a:gd name="connsiteX406" fmla="*/ 5198534 w 9595474"/>
              <a:gd name="connsiteY406" fmla="*/ 3929698 h 6858000"/>
              <a:gd name="connsiteX407" fmla="*/ 5192918 w 9595474"/>
              <a:gd name="connsiteY407" fmla="*/ 3931285 h 6858000"/>
              <a:gd name="connsiteX408" fmla="*/ 5187598 w 9595474"/>
              <a:gd name="connsiteY408" fmla="*/ 3933508 h 6858000"/>
              <a:gd name="connsiteX409" fmla="*/ 5181686 w 9595474"/>
              <a:gd name="connsiteY409" fmla="*/ 3936048 h 6858000"/>
              <a:gd name="connsiteX410" fmla="*/ 5176366 w 9595474"/>
              <a:gd name="connsiteY410" fmla="*/ 3938588 h 6858000"/>
              <a:gd name="connsiteX411" fmla="*/ 5171046 w 9595474"/>
              <a:gd name="connsiteY411" fmla="*/ 3941763 h 6858000"/>
              <a:gd name="connsiteX412" fmla="*/ 5165430 w 9595474"/>
              <a:gd name="connsiteY412" fmla="*/ 3944938 h 6858000"/>
              <a:gd name="connsiteX413" fmla="*/ 5160405 w 9595474"/>
              <a:gd name="connsiteY413" fmla="*/ 3948748 h 6858000"/>
              <a:gd name="connsiteX414" fmla="*/ 5155380 w 9595474"/>
              <a:gd name="connsiteY414" fmla="*/ 3952240 h 6858000"/>
              <a:gd name="connsiteX415" fmla="*/ 5150947 w 9595474"/>
              <a:gd name="connsiteY415" fmla="*/ 3956368 h 6858000"/>
              <a:gd name="connsiteX416" fmla="*/ 5146218 w 9595474"/>
              <a:gd name="connsiteY416" fmla="*/ 3960813 h 6858000"/>
              <a:gd name="connsiteX417" fmla="*/ 5141488 w 9595474"/>
              <a:gd name="connsiteY417" fmla="*/ 3965575 h 6858000"/>
              <a:gd name="connsiteX418" fmla="*/ 5137646 w 9595474"/>
              <a:gd name="connsiteY418" fmla="*/ 3970655 h 6858000"/>
              <a:gd name="connsiteX419" fmla="*/ 5133508 w 9595474"/>
              <a:gd name="connsiteY419" fmla="*/ 3975100 h 6858000"/>
              <a:gd name="connsiteX420" fmla="*/ 5129961 w 9595474"/>
              <a:gd name="connsiteY420" fmla="*/ 3980498 h 6858000"/>
              <a:gd name="connsiteX421" fmla="*/ 5126710 w 9595474"/>
              <a:gd name="connsiteY421" fmla="*/ 3985578 h 6858000"/>
              <a:gd name="connsiteX422" fmla="*/ 5123754 w 9595474"/>
              <a:gd name="connsiteY422" fmla="*/ 3990975 h 6858000"/>
              <a:gd name="connsiteX423" fmla="*/ 5121094 w 9595474"/>
              <a:gd name="connsiteY423" fmla="*/ 3996373 h 6858000"/>
              <a:gd name="connsiteX424" fmla="*/ 5118729 w 9595474"/>
              <a:gd name="connsiteY424" fmla="*/ 4002088 h 6858000"/>
              <a:gd name="connsiteX425" fmla="*/ 5116660 w 9595474"/>
              <a:gd name="connsiteY425" fmla="*/ 4007803 h 6858000"/>
              <a:gd name="connsiteX426" fmla="*/ 5114591 w 9595474"/>
              <a:gd name="connsiteY426" fmla="*/ 4013518 h 6858000"/>
              <a:gd name="connsiteX427" fmla="*/ 5113113 w 9595474"/>
              <a:gd name="connsiteY427" fmla="*/ 4019233 h 6858000"/>
              <a:gd name="connsiteX428" fmla="*/ 5111636 w 9595474"/>
              <a:gd name="connsiteY428" fmla="*/ 4025265 h 6858000"/>
              <a:gd name="connsiteX429" fmla="*/ 5111044 w 9595474"/>
              <a:gd name="connsiteY429" fmla="*/ 4031298 h 6858000"/>
              <a:gd name="connsiteX430" fmla="*/ 5110158 w 9595474"/>
              <a:gd name="connsiteY430" fmla="*/ 4037013 h 6858000"/>
              <a:gd name="connsiteX431" fmla="*/ 5109862 w 9595474"/>
              <a:gd name="connsiteY431" fmla="*/ 4043045 h 6858000"/>
              <a:gd name="connsiteX432" fmla="*/ 5109567 w 9595474"/>
              <a:gd name="connsiteY432" fmla="*/ 4049078 h 6858000"/>
              <a:gd name="connsiteX433" fmla="*/ 5109862 w 9595474"/>
              <a:gd name="connsiteY433" fmla="*/ 4055110 h 6858000"/>
              <a:gd name="connsiteX434" fmla="*/ 5110158 w 9595474"/>
              <a:gd name="connsiteY434" fmla="*/ 4061143 h 6858000"/>
              <a:gd name="connsiteX435" fmla="*/ 5111044 w 9595474"/>
              <a:gd name="connsiteY435" fmla="*/ 4066858 h 6858000"/>
              <a:gd name="connsiteX436" fmla="*/ 5111636 w 9595474"/>
              <a:gd name="connsiteY436" fmla="*/ 4072890 h 6858000"/>
              <a:gd name="connsiteX437" fmla="*/ 5113113 w 9595474"/>
              <a:gd name="connsiteY437" fmla="*/ 4078605 h 6858000"/>
              <a:gd name="connsiteX438" fmla="*/ 5114591 w 9595474"/>
              <a:gd name="connsiteY438" fmla="*/ 4084320 h 6858000"/>
              <a:gd name="connsiteX439" fmla="*/ 5116660 w 9595474"/>
              <a:gd name="connsiteY439" fmla="*/ 4090035 h 6858000"/>
              <a:gd name="connsiteX440" fmla="*/ 5118729 w 9595474"/>
              <a:gd name="connsiteY440" fmla="*/ 4095750 h 6858000"/>
              <a:gd name="connsiteX441" fmla="*/ 5121094 w 9595474"/>
              <a:gd name="connsiteY441" fmla="*/ 4101783 h 6858000"/>
              <a:gd name="connsiteX442" fmla="*/ 5123754 w 9595474"/>
              <a:gd name="connsiteY442" fmla="*/ 4107180 h 6858000"/>
              <a:gd name="connsiteX443" fmla="*/ 5126710 w 9595474"/>
              <a:gd name="connsiteY443" fmla="*/ 4112578 h 6858000"/>
              <a:gd name="connsiteX444" fmla="*/ 5129961 w 9595474"/>
              <a:gd name="connsiteY444" fmla="*/ 4117975 h 6858000"/>
              <a:gd name="connsiteX445" fmla="*/ 5133508 w 9595474"/>
              <a:gd name="connsiteY445" fmla="*/ 4122738 h 6858000"/>
              <a:gd name="connsiteX446" fmla="*/ 5137646 w 9595474"/>
              <a:gd name="connsiteY446" fmla="*/ 4127818 h 6858000"/>
              <a:gd name="connsiteX447" fmla="*/ 5141488 w 9595474"/>
              <a:gd name="connsiteY447" fmla="*/ 4132580 h 6858000"/>
              <a:gd name="connsiteX448" fmla="*/ 5146218 w 9595474"/>
              <a:gd name="connsiteY448" fmla="*/ 4137343 h 6858000"/>
              <a:gd name="connsiteX449" fmla="*/ 5870075 w 9595474"/>
              <a:gd name="connsiteY449" fmla="*/ 4860925 h 6858000"/>
              <a:gd name="connsiteX450" fmla="*/ 5874509 w 9595474"/>
              <a:gd name="connsiteY450" fmla="*/ 4865688 h 6858000"/>
              <a:gd name="connsiteX451" fmla="*/ 5878646 w 9595474"/>
              <a:gd name="connsiteY451" fmla="*/ 4870768 h 6858000"/>
              <a:gd name="connsiteX452" fmla="*/ 5882489 w 9595474"/>
              <a:gd name="connsiteY452" fmla="*/ 4875848 h 6858000"/>
              <a:gd name="connsiteX453" fmla="*/ 5886036 w 9595474"/>
              <a:gd name="connsiteY453" fmla="*/ 4880928 h 6858000"/>
              <a:gd name="connsiteX454" fmla="*/ 5889287 w 9595474"/>
              <a:gd name="connsiteY454" fmla="*/ 4885690 h 6858000"/>
              <a:gd name="connsiteX455" fmla="*/ 5892243 w 9595474"/>
              <a:gd name="connsiteY455" fmla="*/ 4891088 h 6858000"/>
              <a:gd name="connsiteX456" fmla="*/ 5895199 w 9595474"/>
              <a:gd name="connsiteY456" fmla="*/ 4897120 h 6858000"/>
              <a:gd name="connsiteX457" fmla="*/ 5897268 w 9595474"/>
              <a:gd name="connsiteY457" fmla="*/ 4902518 h 6858000"/>
              <a:gd name="connsiteX458" fmla="*/ 5899336 w 9595474"/>
              <a:gd name="connsiteY458" fmla="*/ 4908233 h 6858000"/>
              <a:gd name="connsiteX459" fmla="*/ 5901701 w 9595474"/>
              <a:gd name="connsiteY459" fmla="*/ 4913948 h 6858000"/>
              <a:gd name="connsiteX460" fmla="*/ 5902883 w 9595474"/>
              <a:gd name="connsiteY460" fmla="*/ 4919663 h 6858000"/>
              <a:gd name="connsiteX461" fmla="*/ 5904066 w 9595474"/>
              <a:gd name="connsiteY461" fmla="*/ 4925695 h 6858000"/>
              <a:gd name="connsiteX462" fmla="*/ 5905248 w 9595474"/>
              <a:gd name="connsiteY462" fmla="*/ 4931410 h 6858000"/>
              <a:gd name="connsiteX463" fmla="*/ 5905840 w 9595474"/>
              <a:gd name="connsiteY463" fmla="*/ 4937443 h 6858000"/>
              <a:gd name="connsiteX464" fmla="*/ 5906135 w 9595474"/>
              <a:gd name="connsiteY464" fmla="*/ 4943475 h 6858000"/>
              <a:gd name="connsiteX465" fmla="*/ 5906726 w 9595474"/>
              <a:gd name="connsiteY465" fmla="*/ 4949508 h 6858000"/>
              <a:gd name="connsiteX466" fmla="*/ 5906135 w 9595474"/>
              <a:gd name="connsiteY466" fmla="*/ 4955223 h 6858000"/>
              <a:gd name="connsiteX467" fmla="*/ 5905840 w 9595474"/>
              <a:gd name="connsiteY467" fmla="*/ 4961255 h 6858000"/>
              <a:gd name="connsiteX468" fmla="*/ 5905248 w 9595474"/>
              <a:gd name="connsiteY468" fmla="*/ 4967288 h 6858000"/>
              <a:gd name="connsiteX469" fmla="*/ 5904066 w 9595474"/>
              <a:gd name="connsiteY469" fmla="*/ 4973003 h 6858000"/>
              <a:gd name="connsiteX470" fmla="*/ 5902883 w 9595474"/>
              <a:gd name="connsiteY470" fmla="*/ 4979035 h 6858000"/>
              <a:gd name="connsiteX471" fmla="*/ 5901701 w 9595474"/>
              <a:gd name="connsiteY471" fmla="*/ 4985068 h 6858000"/>
              <a:gd name="connsiteX472" fmla="*/ 5899336 w 9595474"/>
              <a:gd name="connsiteY472" fmla="*/ 4990783 h 6858000"/>
              <a:gd name="connsiteX473" fmla="*/ 5897268 w 9595474"/>
              <a:gd name="connsiteY473" fmla="*/ 4996180 h 6858000"/>
              <a:gd name="connsiteX474" fmla="*/ 5895199 w 9595474"/>
              <a:gd name="connsiteY474" fmla="*/ 5001895 h 6858000"/>
              <a:gd name="connsiteX475" fmla="*/ 5892243 w 9595474"/>
              <a:gd name="connsiteY475" fmla="*/ 5007293 h 6858000"/>
              <a:gd name="connsiteX476" fmla="*/ 5889287 w 9595474"/>
              <a:gd name="connsiteY476" fmla="*/ 5012690 h 6858000"/>
              <a:gd name="connsiteX477" fmla="*/ 5886036 w 9595474"/>
              <a:gd name="connsiteY477" fmla="*/ 5018088 h 6858000"/>
              <a:gd name="connsiteX478" fmla="*/ 5882489 w 9595474"/>
              <a:gd name="connsiteY478" fmla="*/ 5023168 h 6858000"/>
              <a:gd name="connsiteX479" fmla="*/ 5878646 w 9595474"/>
              <a:gd name="connsiteY479" fmla="*/ 5028248 h 6858000"/>
              <a:gd name="connsiteX480" fmla="*/ 5874509 w 9595474"/>
              <a:gd name="connsiteY480" fmla="*/ 5032693 h 6858000"/>
              <a:gd name="connsiteX481" fmla="*/ 5870075 w 9595474"/>
              <a:gd name="connsiteY481" fmla="*/ 5037455 h 6858000"/>
              <a:gd name="connsiteX482" fmla="*/ 5865346 w 9595474"/>
              <a:gd name="connsiteY482" fmla="*/ 5041900 h 6858000"/>
              <a:gd name="connsiteX483" fmla="*/ 5860617 w 9595474"/>
              <a:gd name="connsiteY483" fmla="*/ 5046028 h 6858000"/>
              <a:gd name="connsiteX484" fmla="*/ 5855592 w 9595474"/>
              <a:gd name="connsiteY484" fmla="*/ 5050155 h 6858000"/>
              <a:gd name="connsiteX485" fmla="*/ 5850567 w 9595474"/>
              <a:gd name="connsiteY485" fmla="*/ 5053648 h 6858000"/>
              <a:gd name="connsiteX486" fmla="*/ 5845247 w 9595474"/>
              <a:gd name="connsiteY486" fmla="*/ 5056823 h 6858000"/>
              <a:gd name="connsiteX487" fmla="*/ 5839926 w 9595474"/>
              <a:gd name="connsiteY487" fmla="*/ 5059680 h 6858000"/>
              <a:gd name="connsiteX488" fmla="*/ 5834311 w 9595474"/>
              <a:gd name="connsiteY488" fmla="*/ 5062538 h 6858000"/>
              <a:gd name="connsiteX489" fmla="*/ 5828695 w 9595474"/>
              <a:gd name="connsiteY489" fmla="*/ 5064760 h 6858000"/>
              <a:gd name="connsiteX490" fmla="*/ 5823375 w 9595474"/>
              <a:gd name="connsiteY490" fmla="*/ 5066983 h 6858000"/>
              <a:gd name="connsiteX491" fmla="*/ 5817463 w 9595474"/>
              <a:gd name="connsiteY491" fmla="*/ 5069205 h 6858000"/>
              <a:gd name="connsiteX492" fmla="*/ 5811552 w 9595474"/>
              <a:gd name="connsiteY492" fmla="*/ 5070475 h 6858000"/>
              <a:gd name="connsiteX493" fmla="*/ 5805640 w 9595474"/>
              <a:gd name="connsiteY493" fmla="*/ 5071428 h 6858000"/>
              <a:gd name="connsiteX494" fmla="*/ 5800024 w 9595474"/>
              <a:gd name="connsiteY494" fmla="*/ 5072698 h 6858000"/>
              <a:gd name="connsiteX495" fmla="*/ 5793817 w 9595474"/>
              <a:gd name="connsiteY495" fmla="*/ 5073333 h 6858000"/>
              <a:gd name="connsiteX496" fmla="*/ 5787610 w 9595474"/>
              <a:gd name="connsiteY496" fmla="*/ 5073650 h 6858000"/>
              <a:gd name="connsiteX497" fmla="*/ 5781994 w 9595474"/>
              <a:gd name="connsiteY497" fmla="*/ 5073968 h 6858000"/>
              <a:gd name="connsiteX498" fmla="*/ 5775787 w 9595474"/>
              <a:gd name="connsiteY498" fmla="*/ 5073650 h 6858000"/>
              <a:gd name="connsiteX499" fmla="*/ 5770171 w 9595474"/>
              <a:gd name="connsiteY499" fmla="*/ 5073333 h 6858000"/>
              <a:gd name="connsiteX500" fmla="*/ 5763965 w 9595474"/>
              <a:gd name="connsiteY500" fmla="*/ 5072698 h 6858000"/>
              <a:gd name="connsiteX501" fmla="*/ 5758349 w 9595474"/>
              <a:gd name="connsiteY501" fmla="*/ 5071428 h 6858000"/>
              <a:gd name="connsiteX502" fmla="*/ 5752141 w 9595474"/>
              <a:gd name="connsiteY502" fmla="*/ 5070475 h 6858000"/>
              <a:gd name="connsiteX503" fmla="*/ 5746526 w 9595474"/>
              <a:gd name="connsiteY503" fmla="*/ 5069205 h 6858000"/>
              <a:gd name="connsiteX504" fmla="*/ 5740614 w 9595474"/>
              <a:gd name="connsiteY504" fmla="*/ 5066983 h 6858000"/>
              <a:gd name="connsiteX505" fmla="*/ 5734998 w 9595474"/>
              <a:gd name="connsiteY505" fmla="*/ 5064760 h 6858000"/>
              <a:gd name="connsiteX506" fmla="*/ 5729382 w 9595474"/>
              <a:gd name="connsiteY506" fmla="*/ 5062538 h 6858000"/>
              <a:gd name="connsiteX507" fmla="*/ 5723767 w 9595474"/>
              <a:gd name="connsiteY507" fmla="*/ 5059680 h 6858000"/>
              <a:gd name="connsiteX508" fmla="*/ 5718446 w 9595474"/>
              <a:gd name="connsiteY508" fmla="*/ 5056823 h 6858000"/>
              <a:gd name="connsiteX509" fmla="*/ 5713421 w 9595474"/>
              <a:gd name="connsiteY509" fmla="*/ 5053648 h 6858000"/>
              <a:gd name="connsiteX510" fmla="*/ 5708396 w 9595474"/>
              <a:gd name="connsiteY510" fmla="*/ 5050155 h 6858000"/>
              <a:gd name="connsiteX511" fmla="*/ 5703372 w 9595474"/>
              <a:gd name="connsiteY511" fmla="*/ 5046028 h 6858000"/>
              <a:gd name="connsiteX512" fmla="*/ 5698347 w 9595474"/>
              <a:gd name="connsiteY512" fmla="*/ 5041900 h 6858000"/>
              <a:gd name="connsiteX513" fmla="*/ 5693618 w 9595474"/>
              <a:gd name="connsiteY513" fmla="*/ 5037455 h 6858000"/>
              <a:gd name="connsiteX514" fmla="*/ 5598148 w 9595474"/>
              <a:gd name="connsiteY514" fmla="*/ 4941888 h 6858000"/>
              <a:gd name="connsiteX515" fmla="*/ 5490560 w 9595474"/>
              <a:gd name="connsiteY515" fmla="*/ 4834573 h 6858000"/>
              <a:gd name="connsiteX516" fmla="*/ 5485830 w 9595474"/>
              <a:gd name="connsiteY516" fmla="*/ 4830128 h 6858000"/>
              <a:gd name="connsiteX517" fmla="*/ 5481397 w 9595474"/>
              <a:gd name="connsiteY517" fmla="*/ 4826000 h 6858000"/>
              <a:gd name="connsiteX518" fmla="*/ 5476372 w 9595474"/>
              <a:gd name="connsiteY518" fmla="*/ 4821873 h 6858000"/>
              <a:gd name="connsiteX519" fmla="*/ 5471348 w 9595474"/>
              <a:gd name="connsiteY519" fmla="*/ 4818380 h 6858000"/>
              <a:gd name="connsiteX520" fmla="*/ 5465732 w 9595474"/>
              <a:gd name="connsiteY520" fmla="*/ 4815205 h 6858000"/>
              <a:gd name="connsiteX521" fmla="*/ 5460411 w 9595474"/>
              <a:gd name="connsiteY521" fmla="*/ 4812348 h 6858000"/>
              <a:gd name="connsiteX522" fmla="*/ 5455091 w 9595474"/>
              <a:gd name="connsiteY522" fmla="*/ 4809173 h 6858000"/>
              <a:gd name="connsiteX523" fmla="*/ 5449475 w 9595474"/>
              <a:gd name="connsiteY523" fmla="*/ 4807268 h 6858000"/>
              <a:gd name="connsiteX524" fmla="*/ 5443563 w 9595474"/>
              <a:gd name="connsiteY524" fmla="*/ 4805045 h 6858000"/>
              <a:gd name="connsiteX525" fmla="*/ 5437948 w 9595474"/>
              <a:gd name="connsiteY525" fmla="*/ 4802823 h 6858000"/>
              <a:gd name="connsiteX526" fmla="*/ 5432036 w 9595474"/>
              <a:gd name="connsiteY526" fmla="*/ 4801553 h 6858000"/>
              <a:gd name="connsiteX527" fmla="*/ 5426420 w 9595474"/>
              <a:gd name="connsiteY527" fmla="*/ 4800283 h 6858000"/>
              <a:gd name="connsiteX528" fmla="*/ 5420509 w 9595474"/>
              <a:gd name="connsiteY528" fmla="*/ 4799330 h 6858000"/>
              <a:gd name="connsiteX529" fmla="*/ 5414597 w 9595474"/>
              <a:gd name="connsiteY529" fmla="*/ 4798695 h 6858000"/>
              <a:gd name="connsiteX530" fmla="*/ 5408391 w 9595474"/>
              <a:gd name="connsiteY530" fmla="*/ 4798060 h 6858000"/>
              <a:gd name="connsiteX531" fmla="*/ 5402775 w 9595474"/>
              <a:gd name="connsiteY531" fmla="*/ 4797743 h 6858000"/>
              <a:gd name="connsiteX532" fmla="*/ 5396568 w 9595474"/>
              <a:gd name="connsiteY532" fmla="*/ 4798060 h 6858000"/>
              <a:gd name="connsiteX533" fmla="*/ 5390361 w 9595474"/>
              <a:gd name="connsiteY533" fmla="*/ 4798695 h 6858000"/>
              <a:gd name="connsiteX534" fmla="*/ 5384745 w 9595474"/>
              <a:gd name="connsiteY534" fmla="*/ 4799330 h 6858000"/>
              <a:gd name="connsiteX535" fmla="*/ 5378538 w 9595474"/>
              <a:gd name="connsiteY535" fmla="*/ 4800283 h 6858000"/>
              <a:gd name="connsiteX536" fmla="*/ 5372922 w 9595474"/>
              <a:gd name="connsiteY536" fmla="*/ 4801553 h 6858000"/>
              <a:gd name="connsiteX537" fmla="*/ 5367010 w 9595474"/>
              <a:gd name="connsiteY537" fmla="*/ 4802823 h 6858000"/>
              <a:gd name="connsiteX538" fmla="*/ 5361394 w 9595474"/>
              <a:gd name="connsiteY538" fmla="*/ 4805045 h 6858000"/>
              <a:gd name="connsiteX539" fmla="*/ 5355483 w 9595474"/>
              <a:gd name="connsiteY539" fmla="*/ 4807268 h 6858000"/>
              <a:gd name="connsiteX540" fmla="*/ 5350163 w 9595474"/>
              <a:gd name="connsiteY540" fmla="*/ 4809173 h 6858000"/>
              <a:gd name="connsiteX541" fmla="*/ 5344547 w 9595474"/>
              <a:gd name="connsiteY541" fmla="*/ 4812348 h 6858000"/>
              <a:gd name="connsiteX542" fmla="*/ 5338931 w 9595474"/>
              <a:gd name="connsiteY542" fmla="*/ 4815205 h 6858000"/>
              <a:gd name="connsiteX543" fmla="*/ 5333906 w 9595474"/>
              <a:gd name="connsiteY543" fmla="*/ 4818380 h 6858000"/>
              <a:gd name="connsiteX544" fmla="*/ 5328881 w 9595474"/>
              <a:gd name="connsiteY544" fmla="*/ 4821873 h 6858000"/>
              <a:gd name="connsiteX545" fmla="*/ 5323857 w 9595474"/>
              <a:gd name="connsiteY545" fmla="*/ 4826000 h 6858000"/>
              <a:gd name="connsiteX546" fmla="*/ 5318832 w 9595474"/>
              <a:gd name="connsiteY546" fmla="*/ 4830128 h 6858000"/>
              <a:gd name="connsiteX547" fmla="*/ 5314398 w 9595474"/>
              <a:gd name="connsiteY547" fmla="*/ 4834573 h 6858000"/>
              <a:gd name="connsiteX548" fmla="*/ 5307305 w 9595474"/>
              <a:gd name="connsiteY548" fmla="*/ 4841875 h 6858000"/>
              <a:gd name="connsiteX549" fmla="*/ 5301393 w 9595474"/>
              <a:gd name="connsiteY549" fmla="*/ 4849813 h 6858000"/>
              <a:gd name="connsiteX550" fmla="*/ 5295482 w 9595474"/>
              <a:gd name="connsiteY550" fmla="*/ 4858068 h 6858000"/>
              <a:gd name="connsiteX551" fmla="*/ 5291048 w 9595474"/>
              <a:gd name="connsiteY551" fmla="*/ 4867275 h 6858000"/>
              <a:gd name="connsiteX552" fmla="*/ 5286910 w 9595474"/>
              <a:gd name="connsiteY552" fmla="*/ 4875848 h 6858000"/>
              <a:gd name="connsiteX553" fmla="*/ 5283659 w 9595474"/>
              <a:gd name="connsiteY553" fmla="*/ 4885055 h 6858000"/>
              <a:gd name="connsiteX554" fmla="*/ 5281294 w 9595474"/>
              <a:gd name="connsiteY554" fmla="*/ 4894580 h 6858000"/>
              <a:gd name="connsiteX555" fmla="*/ 5279521 w 9595474"/>
              <a:gd name="connsiteY555" fmla="*/ 4903788 h 6858000"/>
              <a:gd name="connsiteX556" fmla="*/ 5278339 w 9595474"/>
              <a:gd name="connsiteY556" fmla="*/ 4913630 h 6858000"/>
              <a:gd name="connsiteX557" fmla="*/ 5278339 w 9595474"/>
              <a:gd name="connsiteY557" fmla="*/ 4923155 h 6858000"/>
              <a:gd name="connsiteX558" fmla="*/ 5278634 w 9595474"/>
              <a:gd name="connsiteY558" fmla="*/ 4932998 h 6858000"/>
              <a:gd name="connsiteX559" fmla="*/ 5279816 w 9595474"/>
              <a:gd name="connsiteY559" fmla="*/ 4942205 h 6858000"/>
              <a:gd name="connsiteX560" fmla="*/ 5281885 w 9595474"/>
              <a:gd name="connsiteY560" fmla="*/ 4952048 h 6858000"/>
              <a:gd name="connsiteX561" fmla="*/ 5284546 w 9595474"/>
              <a:gd name="connsiteY561" fmla="*/ 4960938 h 6858000"/>
              <a:gd name="connsiteX562" fmla="*/ 5288092 w 9595474"/>
              <a:gd name="connsiteY562" fmla="*/ 4970145 h 6858000"/>
              <a:gd name="connsiteX563" fmla="*/ 5291935 w 9595474"/>
              <a:gd name="connsiteY563" fmla="*/ 4979353 h 6858000"/>
              <a:gd name="connsiteX564" fmla="*/ 5583665 w 9595474"/>
              <a:gd name="connsiteY564" fmla="*/ 5270500 h 6858000"/>
              <a:gd name="connsiteX565" fmla="*/ 5588098 w 9595474"/>
              <a:gd name="connsiteY565" fmla="*/ 5275263 h 6858000"/>
              <a:gd name="connsiteX566" fmla="*/ 5592237 w 9595474"/>
              <a:gd name="connsiteY566" fmla="*/ 5280343 h 6858000"/>
              <a:gd name="connsiteX567" fmla="*/ 5595784 w 9595474"/>
              <a:gd name="connsiteY567" fmla="*/ 5284788 h 6858000"/>
              <a:gd name="connsiteX568" fmla="*/ 5599626 w 9595474"/>
              <a:gd name="connsiteY568" fmla="*/ 5290185 h 6858000"/>
              <a:gd name="connsiteX569" fmla="*/ 5602582 w 9595474"/>
              <a:gd name="connsiteY569" fmla="*/ 5295265 h 6858000"/>
              <a:gd name="connsiteX570" fmla="*/ 5605833 w 9595474"/>
              <a:gd name="connsiteY570" fmla="*/ 5300663 h 6858000"/>
              <a:gd name="connsiteX571" fmla="*/ 5608493 w 9595474"/>
              <a:gd name="connsiteY571" fmla="*/ 5306060 h 6858000"/>
              <a:gd name="connsiteX572" fmla="*/ 5610857 w 9595474"/>
              <a:gd name="connsiteY572" fmla="*/ 5311775 h 6858000"/>
              <a:gd name="connsiteX573" fmla="*/ 5613222 w 9595474"/>
              <a:gd name="connsiteY573" fmla="*/ 5317490 h 6858000"/>
              <a:gd name="connsiteX574" fmla="*/ 5614996 w 9595474"/>
              <a:gd name="connsiteY574" fmla="*/ 5323523 h 6858000"/>
              <a:gd name="connsiteX575" fmla="*/ 5616474 w 9595474"/>
              <a:gd name="connsiteY575" fmla="*/ 5329238 h 6858000"/>
              <a:gd name="connsiteX576" fmla="*/ 5617656 w 9595474"/>
              <a:gd name="connsiteY576" fmla="*/ 5334953 h 6858000"/>
              <a:gd name="connsiteX577" fmla="*/ 5618838 w 9595474"/>
              <a:gd name="connsiteY577" fmla="*/ 5340985 h 6858000"/>
              <a:gd name="connsiteX578" fmla="*/ 5619725 w 9595474"/>
              <a:gd name="connsiteY578" fmla="*/ 5346700 h 6858000"/>
              <a:gd name="connsiteX579" fmla="*/ 5620021 w 9595474"/>
              <a:gd name="connsiteY579" fmla="*/ 5352733 h 6858000"/>
              <a:gd name="connsiteX580" fmla="*/ 5620021 w 9595474"/>
              <a:gd name="connsiteY580" fmla="*/ 5359083 h 6858000"/>
              <a:gd name="connsiteX581" fmla="*/ 5620021 w 9595474"/>
              <a:gd name="connsiteY581" fmla="*/ 5364798 h 6858000"/>
              <a:gd name="connsiteX582" fmla="*/ 5619725 w 9595474"/>
              <a:gd name="connsiteY582" fmla="*/ 5370830 h 6858000"/>
              <a:gd name="connsiteX583" fmla="*/ 5618838 w 9595474"/>
              <a:gd name="connsiteY583" fmla="*/ 5376545 h 6858000"/>
              <a:gd name="connsiteX584" fmla="*/ 5617656 w 9595474"/>
              <a:gd name="connsiteY584" fmla="*/ 5382578 h 6858000"/>
              <a:gd name="connsiteX585" fmla="*/ 5616474 w 9595474"/>
              <a:gd name="connsiteY585" fmla="*/ 5388293 h 6858000"/>
              <a:gd name="connsiteX586" fmla="*/ 5614996 w 9595474"/>
              <a:gd name="connsiteY586" fmla="*/ 5394008 h 6858000"/>
              <a:gd name="connsiteX587" fmla="*/ 5613222 w 9595474"/>
              <a:gd name="connsiteY587" fmla="*/ 5400040 h 6858000"/>
              <a:gd name="connsiteX588" fmla="*/ 5610857 w 9595474"/>
              <a:gd name="connsiteY588" fmla="*/ 5405755 h 6858000"/>
              <a:gd name="connsiteX589" fmla="*/ 5608493 w 9595474"/>
              <a:gd name="connsiteY589" fmla="*/ 5411470 h 6858000"/>
              <a:gd name="connsiteX590" fmla="*/ 5605833 w 9595474"/>
              <a:gd name="connsiteY590" fmla="*/ 5416868 h 6858000"/>
              <a:gd name="connsiteX591" fmla="*/ 5602582 w 9595474"/>
              <a:gd name="connsiteY591" fmla="*/ 5422265 h 6858000"/>
              <a:gd name="connsiteX592" fmla="*/ 5599626 w 9595474"/>
              <a:gd name="connsiteY592" fmla="*/ 5427663 h 6858000"/>
              <a:gd name="connsiteX593" fmla="*/ 5595784 w 9595474"/>
              <a:gd name="connsiteY593" fmla="*/ 5432743 h 6858000"/>
              <a:gd name="connsiteX594" fmla="*/ 5592237 w 9595474"/>
              <a:gd name="connsiteY594" fmla="*/ 5437505 h 6858000"/>
              <a:gd name="connsiteX595" fmla="*/ 5588098 w 9595474"/>
              <a:gd name="connsiteY595" fmla="*/ 5442268 h 6858000"/>
              <a:gd name="connsiteX596" fmla="*/ 5583665 w 9595474"/>
              <a:gd name="connsiteY596" fmla="*/ 5447030 h 6858000"/>
              <a:gd name="connsiteX597" fmla="*/ 5578936 w 9595474"/>
              <a:gd name="connsiteY597" fmla="*/ 5451158 h 6858000"/>
              <a:gd name="connsiteX598" fmla="*/ 5573911 w 9595474"/>
              <a:gd name="connsiteY598" fmla="*/ 5455603 h 6858000"/>
              <a:gd name="connsiteX599" fmla="*/ 5569182 w 9595474"/>
              <a:gd name="connsiteY599" fmla="*/ 5459095 h 6858000"/>
              <a:gd name="connsiteX600" fmla="*/ 5563862 w 9595474"/>
              <a:gd name="connsiteY600" fmla="*/ 5462905 h 6858000"/>
              <a:gd name="connsiteX601" fmla="*/ 5558837 w 9595474"/>
              <a:gd name="connsiteY601" fmla="*/ 5466080 h 6858000"/>
              <a:gd name="connsiteX602" fmla="*/ 5553517 w 9595474"/>
              <a:gd name="connsiteY602" fmla="*/ 5469255 h 6858000"/>
              <a:gd name="connsiteX603" fmla="*/ 5548196 w 9595474"/>
              <a:gd name="connsiteY603" fmla="*/ 5471795 h 6858000"/>
              <a:gd name="connsiteX604" fmla="*/ 5542285 w 9595474"/>
              <a:gd name="connsiteY604" fmla="*/ 5474335 h 6858000"/>
              <a:gd name="connsiteX605" fmla="*/ 5536964 w 9595474"/>
              <a:gd name="connsiteY605" fmla="*/ 5476558 h 6858000"/>
              <a:gd name="connsiteX606" fmla="*/ 5531348 w 9595474"/>
              <a:gd name="connsiteY606" fmla="*/ 5478145 h 6858000"/>
              <a:gd name="connsiteX607" fmla="*/ 5525437 w 9595474"/>
              <a:gd name="connsiteY607" fmla="*/ 5479733 h 6858000"/>
              <a:gd name="connsiteX608" fmla="*/ 5519230 w 9595474"/>
              <a:gd name="connsiteY608" fmla="*/ 5481003 h 6858000"/>
              <a:gd name="connsiteX609" fmla="*/ 5513614 w 9595474"/>
              <a:gd name="connsiteY609" fmla="*/ 5482273 h 6858000"/>
              <a:gd name="connsiteX610" fmla="*/ 5507999 w 9595474"/>
              <a:gd name="connsiteY610" fmla="*/ 5482908 h 6858000"/>
              <a:gd name="connsiteX611" fmla="*/ 5501791 w 9595474"/>
              <a:gd name="connsiteY611" fmla="*/ 5483225 h 6858000"/>
              <a:gd name="connsiteX612" fmla="*/ 5495585 w 9595474"/>
              <a:gd name="connsiteY612" fmla="*/ 5483543 h 6858000"/>
              <a:gd name="connsiteX613" fmla="*/ 6873545 w 9595474"/>
              <a:gd name="connsiteY613" fmla="*/ 6858000 h 6858000"/>
              <a:gd name="connsiteX614" fmla="*/ 9595474 w 9595474"/>
              <a:gd name="connsiteY614" fmla="*/ 6858000 h 6858000"/>
              <a:gd name="connsiteX615" fmla="*/ 9595474 w 9595474"/>
              <a:gd name="connsiteY615" fmla="*/ 0 h 6858000"/>
              <a:gd name="connsiteX0" fmla="*/ 9595474 w 9595474"/>
              <a:gd name="connsiteY0" fmla="*/ 0 h 6858000"/>
              <a:gd name="connsiteX1" fmla="*/ 2914643 w 9595474"/>
              <a:gd name="connsiteY1" fmla="*/ 0 h 6858000"/>
              <a:gd name="connsiteX2" fmla="*/ 2857270 w 9595474"/>
              <a:gd name="connsiteY2" fmla="*/ 0 h 6858000"/>
              <a:gd name="connsiteX3" fmla="*/ 0 w 9595474"/>
              <a:gd name="connsiteY3" fmla="*/ 0 h 6858000"/>
              <a:gd name="connsiteX4" fmla="*/ 692823 w 9595474"/>
              <a:gd name="connsiteY4" fmla="*/ 691198 h 6858000"/>
              <a:gd name="connsiteX5" fmla="*/ 691345 w 9595474"/>
              <a:gd name="connsiteY5" fmla="*/ 683895 h 6858000"/>
              <a:gd name="connsiteX6" fmla="*/ 690754 w 9595474"/>
              <a:gd name="connsiteY6" fmla="*/ 676275 h 6858000"/>
              <a:gd name="connsiteX7" fmla="*/ 690754 w 9595474"/>
              <a:gd name="connsiteY7" fmla="*/ 669290 h 6858000"/>
              <a:gd name="connsiteX8" fmla="*/ 690754 w 9595474"/>
              <a:gd name="connsiteY8" fmla="*/ 661988 h 6858000"/>
              <a:gd name="connsiteX9" fmla="*/ 691345 w 9595474"/>
              <a:gd name="connsiteY9" fmla="*/ 654368 h 6858000"/>
              <a:gd name="connsiteX10" fmla="*/ 692527 w 9595474"/>
              <a:gd name="connsiteY10" fmla="*/ 647383 h 6858000"/>
              <a:gd name="connsiteX11" fmla="*/ 694005 w 9595474"/>
              <a:gd name="connsiteY11" fmla="*/ 640080 h 6858000"/>
              <a:gd name="connsiteX12" fmla="*/ 695778 w 9595474"/>
              <a:gd name="connsiteY12" fmla="*/ 633095 h 6858000"/>
              <a:gd name="connsiteX13" fmla="*/ 698143 w 9595474"/>
              <a:gd name="connsiteY13" fmla="*/ 625793 h 6858000"/>
              <a:gd name="connsiteX14" fmla="*/ 700803 w 9595474"/>
              <a:gd name="connsiteY14" fmla="*/ 618808 h 6858000"/>
              <a:gd name="connsiteX15" fmla="*/ 704054 w 9595474"/>
              <a:gd name="connsiteY15" fmla="*/ 612140 h 6858000"/>
              <a:gd name="connsiteX16" fmla="*/ 707601 w 9595474"/>
              <a:gd name="connsiteY16" fmla="*/ 605790 h 6858000"/>
              <a:gd name="connsiteX17" fmla="*/ 712035 w 9595474"/>
              <a:gd name="connsiteY17" fmla="*/ 599123 h 6858000"/>
              <a:gd name="connsiteX18" fmla="*/ 716173 w 9595474"/>
              <a:gd name="connsiteY18" fmla="*/ 592773 h 6858000"/>
              <a:gd name="connsiteX19" fmla="*/ 721198 w 9595474"/>
              <a:gd name="connsiteY19" fmla="*/ 587058 h 6858000"/>
              <a:gd name="connsiteX20" fmla="*/ 726518 w 9595474"/>
              <a:gd name="connsiteY20" fmla="*/ 581343 h 6858000"/>
              <a:gd name="connsiteX21" fmla="*/ 731247 w 9595474"/>
              <a:gd name="connsiteY21" fmla="*/ 576898 h 6858000"/>
              <a:gd name="connsiteX22" fmla="*/ 735976 w 9595474"/>
              <a:gd name="connsiteY22" fmla="*/ 572453 h 6858000"/>
              <a:gd name="connsiteX23" fmla="*/ 741001 w 9595474"/>
              <a:gd name="connsiteY23" fmla="*/ 568960 h 6858000"/>
              <a:gd name="connsiteX24" fmla="*/ 746026 w 9595474"/>
              <a:gd name="connsiteY24" fmla="*/ 565468 h 6858000"/>
              <a:gd name="connsiteX25" fmla="*/ 751050 w 9595474"/>
              <a:gd name="connsiteY25" fmla="*/ 562293 h 6858000"/>
              <a:gd name="connsiteX26" fmla="*/ 756371 w 9595474"/>
              <a:gd name="connsiteY26" fmla="*/ 558800 h 6858000"/>
              <a:gd name="connsiteX27" fmla="*/ 761691 w 9595474"/>
              <a:gd name="connsiteY27" fmla="*/ 556578 h 6858000"/>
              <a:gd name="connsiteX28" fmla="*/ 767602 w 9595474"/>
              <a:gd name="connsiteY28" fmla="*/ 554038 h 6858000"/>
              <a:gd name="connsiteX29" fmla="*/ 772923 w 9595474"/>
              <a:gd name="connsiteY29" fmla="*/ 551815 h 6858000"/>
              <a:gd name="connsiteX30" fmla="*/ 778834 w 9595474"/>
              <a:gd name="connsiteY30" fmla="*/ 549910 h 6858000"/>
              <a:gd name="connsiteX31" fmla="*/ 784450 w 9595474"/>
              <a:gd name="connsiteY31" fmla="*/ 548640 h 6858000"/>
              <a:gd name="connsiteX32" fmla="*/ 790066 w 9595474"/>
              <a:gd name="connsiteY32" fmla="*/ 547370 h 6858000"/>
              <a:gd name="connsiteX33" fmla="*/ 795977 w 9595474"/>
              <a:gd name="connsiteY33" fmla="*/ 546418 h 6858000"/>
              <a:gd name="connsiteX34" fmla="*/ 802184 w 9595474"/>
              <a:gd name="connsiteY34" fmla="*/ 545783 h 6858000"/>
              <a:gd name="connsiteX35" fmla="*/ 807800 w 9595474"/>
              <a:gd name="connsiteY35" fmla="*/ 545465 h 6858000"/>
              <a:gd name="connsiteX36" fmla="*/ 814007 w 9595474"/>
              <a:gd name="connsiteY36" fmla="*/ 544830 h 6858000"/>
              <a:gd name="connsiteX37" fmla="*/ 819623 w 9595474"/>
              <a:gd name="connsiteY37" fmla="*/ 545465 h 6858000"/>
              <a:gd name="connsiteX38" fmla="*/ 825830 w 9595474"/>
              <a:gd name="connsiteY38" fmla="*/ 545783 h 6858000"/>
              <a:gd name="connsiteX39" fmla="*/ 831446 w 9595474"/>
              <a:gd name="connsiteY39" fmla="*/ 546418 h 6858000"/>
              <a:gd name="connsiteX40" fmla="*/ 837358 w 9595474"/>
              <a:gd name="connsiteY40" fmla="*/ 547370 h 6858000"/>
              <a:gd name="connsiteX41" fmla="*/ 842974 w 9595474"/>
              <a:gd name="connsiteY41" fmla="*/ 548640 h 6858000"/>
              <a:gd name="connsiteX42" fmla="*/ 848885 w 9595474"/>
              <a:gd name="connsiteY42" fmla="*/ 549910 h 6858000"/>
              <a:gd name="connsiteX43" fmla="*/ 854501 w 9595474"/>
              <a:gd name="connsiteY43" fmla="*/ 551815 h 6858000"/>
              <a:gd name="connsiteX44" fmla="*/ 860117 w 9595474"/>
              <a:gd name="connsiteY44" fmla="*/ 554038 h 6858000"/>
              <a:gd name="connsiteX45" fmla="*/ 865733 w 9595474"/>
              <a:gd name="connsiteY45" fmla="*/ 556578 h 6858000"/>
              <a:gd name="connsiteX46" fmla="*/ 871053 w 9595474"/>
              <a:gd name="connsiteY46" fmla="*/ 558800 h 6858000"/>
              <a:gd name="connsiteX47" fmla="*/ 876373 w 9595474"/>
              <a:gd name="connsiteY47" fmla="*/ 562293 h 6858000"/>
              <a:gd name="connsiteX48" fmla="*/ 881398 w 9595474"/>
              <a:gd name="connsiteY48" fmla="*/ 565468 h 6858000"/>
              <a:gd name="connsiteX49" fmla="*/ 886718 w 9595474"/>
              <a:gd name="connsiteY49" fmla="*/ 568960 h 6858000"/>
              <a:gd name="connsiteX50" fmla="*/ 891447 w 9595474"/>
              <a:gd name="connsiteY50" fmla="*/ 572453 h 6858000"/>
              <a:gd name="connsiteX51" fmla="*/ 896177 w 9595474"/>
              <a:gd name="connsiteY51" fmla="*/ 576898 h 6858000"/>
              <a:gd name="connsiteX52" fmla="*/ 900906 w 9595474"/>
              <a:gd name="connsiteY52" fmla="*/ 581343 h 6858000"/>
              <a:gd name="connsiteX53" fmla="*/ 1431459 w 9595474"/>
              <a:gd name="connsiteY53" fmla="*/ 1111568 h 6858000"/>
              <a:gd name="connsiteX54" fmla="*/ 2394731 w 9595474"/>
              <a:gd name="connsiteY54" fmla="*/ 2074863 h 6858000"/>
              <a:gd name="connsiteX55" fmla="*/ 2399164 w 9595474"/>
              <a:gd name="connsiteY55" fmla="*/ 2079308 h 6858000"/>
              <a:gd name="connsiteX56" fmla="*/ 2404189 w 9595474"/>
              <a:gd name="connsiteY56" fmla="*/ 2083435 h 6858000"/>
              <a:gd name="connsiteX57" fmla="*/ 2408918 w 9595474"/>
              <a:gd name="connsiteY57" fmla="*/ 2087245 h 6858000"/>
              <a:gd name="connsiteX58" fmla="*/ 2413943 w 9595474"/>
              <a:gd name="connsiteY58" fmla="*/ 2090738 h 6858000"/>
              <a:gd name="connsiteX59" fmla="*/ 2419263 w 9595474"/>
              <a:gd name="connsiteY59" fmla="*/ 2093913 h 6858000"/>
              <a:gd name="connsiteX60" fmla="*/ 2424583 w 9595474"/>
              <a:gd name="connsiteY60" fmla="*/ 2096770 h 6858000"/>
              <a:gd name="connsiteX61" fmla="*/ 2430199 w 9595474"/>
              <a:gd name="connsiteY61" fmla="*/ 2099628 h 6858000"/>
              <a:gd name="connsiteX62" fmla="*/ 2435520 w 9595474"/>
              <a:gd name="connsiteY62" fmla="*/ 2101850 h 6858000"/>
              <a:gd name="connsiteX63" fmla="*/ 2441136 w 9595474"/>
              <a:gd name="connsiteY63" fmla="*/ 2104073 h 6858000"/>
              <a:gd name="connsiteX64" fmla="*/ 2447047 w 9595474"/>
              <a:gd name="connsiteY64" fmla="*/ 2105660 h 6858000"/>
              <a:gd name="connsiteX65" fmla="*/ 2452663 w 9595474"/>
              <a:gd name="connsiteY65" fmla="*/ 2107565 h 6858000"/>
              <a:gd name="connsiteX66" fmla="*/ 2458574 w 9595474"/>
              <a:gd name="connsiteY66" fmla="*/ 2108518 h 6858000"/>
              <a:gd name="connsiteX67" fmla="*/ 2464190 w 9595474"/>
              <a:gd name="connsiteY67" fmla="*/ 2109788 h 6858000"/>
              <a:gd name="connsiteX68" fmla="*/ 2469806 w 9595474"/>
              <a:gd name="connsiteY68" fmla="*/ 2110423 h 6858000"/>
              <a:gd name="connsiteX69" fmla="*/ 2476013 w 9595474"/>
              <a:gd name="connsiteY69" fmla="*/ 2110740 h 6858000"/>
              <a:gd name="connsiteX70" fmla="*/ 2481925 w 9595474"/>
              <a:gd name="connsiteY70" fmla="*/ 2111058 h 6858000"/>
              <a:gd name="connsiteX71" fmla="*/ 2487836 w 9595474"/>
              <a:gd name="connsiteY71" fmla="*/ 2110740 h 6858000"/>
              <a:gd name="connsiteX72" fmla="*/ 2493747 w 9595474"/>
              <a:gd name="connsiteY72" fmla="*/ 2110423 h 6858000"/>
              <a:gd name="connsiteX73" fmla="*/ 2499363 w 9595474"/>
              <a:gd name="connsiteY73" fmla="*/ 2109788 h 6858000"/>
              <a:gd name="connsiteX74" fmla="*/ 2505570 w 9595474"/>
              <a:gd name="connsiteY74" fmla="*/ 2108518 h 6858000"/>
              <a:gd name="connsiteX75" fmla="*/ 2511186 w 9595474"/>
              <a:gd name="connsiteY75" fmla="*/ 2107565 h 6858000"/>
              <a:gd name="connsiteX76" fmla="*/ 2517098 w 9595474"/>
              <a:gd name="connsiteY76" fmla="*/ 2105660 h 6858000"/>
              <a:gd name="connsiteX77" fmla="*/ 2522714 w 9595474"/>
              <a:gd name="connsiteY77" fmla="*/ 2104073 h 6858000"/>
              <a:gd name="connsiteX78" fmla="*/ 2528034 w 9595474"/>
              <a:gd name="connsiteY78" fmla="*/ 2101850 h 6858000"/>
              <a:gd name="connsiteX79" fmla="*/ 2533945 w 9595474"/>
              <a:gd name="connsiteY79" fmla="*/ 2099628 h 6858000"/>
              <a:gd name="connsiteX80" fmla="*/ 2539266 w 9595474"/>
              <a:gd name="connsiteY80" fmla="*/ 2096770 h 6858000"/>
              <a:gd name="connsiteX81" fmla="*/ 2544290 w 9595474"/>
              <a:gd name="connsiteY81" fmla="*/ 2093913 h 6858000"/>
              <a:gd name="connsiteX82" fmla="*/ 2549611 w 9595474"/>
              <a:gd name="connsiteY82" fmla="*/ 2090738 h 6858000"/>
              <a:gd name="connsiteX83" fmla="*/ 2554635 w 9595474"/>
              <a:gd name="connsiteY83" fmla="*/ 2087245 h 6858000"/>
              <a:gd name="connsiteX84" fmla="*/ 2559660 w 9595474"/>
              <a:gd name="connsiteY84" fmla="*/ 2083435 h 6858000"/>
              <a:gd name="connsiteX85" fmla="*/ 2564389 w 9595474"/>
              <a:gd name="connsiteY85" fmla="*/ 2079308 h 6858000"/>
              <a:gd name="connsiteX86" fmla="*/ 2569119 w 9595474"/>
              <a:gd name="connsiteY86" fmla="*/ 2074863 h 6858000"/>
              <a:gd name="connsiteX87" fmla="*/ 2573257 w 9595474"/>
              <a:gd name="connsiteY87" fmla="*/ 2070100 h 6858000"/>
              <a:gd name="connsiteX88" fmla="*/ 2577395 w 9595474"/>
              <a:gd name="connsiteY88" fmla="*/ 2065655 h 6858000"/>
              <a:gd name="connsiteX89" fmla="*/ 2581237 w 9595474"/>
              <a:gd name="connsiteY89" fmla="*/ 2060575 h 6858000"/>
              <a:gd name="connsiteX90" fmla="*/ 2584784 w 9595474"/>
              <a:gd name="connsiteY90" fmla="*/ 2055495 h 6858000"/>
              <a:gd name="connsiteX91" fmla="*/ 2588035 w 9595474"/>
              <a:gd name="connsiteY91" fmla="*/ 2050415 h 6858000"/>
              <a:gd name="connsiteX92" fmla="*/ 2590991 w 9595474"/>
              <a:gd name="connsiteY92" fmla="*/ 2045018 h 6858000"/>
              <a:gd name="connsiteX93" fmla="*/ 2593651 w 9595474"/>
              <a:gd name="connsiteY93" fmla="*/ 2039620 h 6858000"/>
              <a:gd name="connsiteX94" fmla="*/ 2596016 w 9595474"/>
              <a:gd name="connsiteY94" fmla="*/ 2034223 h 6858000"/>
              <a:gd name="connsiteX95" fmla="*/ 2598085 w 9595474"/>
              <a:gd name="connsiteY95" fmla="*/ 2028508 h 6858000"/>
              <a:gd name="connsiteX96" fmla="*/ 2599858 w 9595474"/>
              <a:gd name="connsiteY96" fmla="*/ 2022793 h 6858000"/>
              <a:gd name="connsiteX97" fmla="*/ 2601336 w 9595474"/>
              <a:gd name="connsiteY97" fmla="*/ 2017078 h 6858000"/>
              <a:gd name="connsiteX98" fmla="*/ 2602814 w 9595474"/>
              <a:gd name="connsiteY98" fmla="*/ 2011363 h 6858000"/>
              <a:gd name="connsiteX99" fmla="*/ 2603996 w 9595474"/>
              <a:gd name="connsiteY99" fmla="*/ 2005648 h 6858000"/>
              <a:gd name="connsiteX100" fmla="*/ 2604587 w 9595474"/>
              <a:gd name="connsiteY100" fmla="*/ 1999615 h 6858000"/>
              <a:gd name="connsiteX101" fmla="*/ 2604883 w 9595474"/>
              <a:gd name="connsiteY101" fmla="*/ 1993583 h 6858000"/>
              <a:gd name="connsiteX102" fmla="*/ 2604883 w 9595474"/>
              <a:gd name="connsiteY102" fmla="*/ 1987550 h 6858000"/>
              <a:gd name="connsiteX103" fmla="*/ 2604883 w 9595474"/>
              <a:gd name="connsiteY103" fmla="*/ 1981835 h 6858000"/>
              <a:gd name="connsiteX104" fmla="*/ 2604587 w 9595474"/>
              <a:gd name="connsiteY104" fmla="*/ 1976120 h 6858000"/>
              <a:gd name="connsiteX105" fmla="*/ 2603996 w 9595474"/>
              <a:gd name="connsiteY105" fmla="*/ 1970088 h 6858000"/>
              <a:gd name="connsiteX106" fmla="*/ 2602814 w 9595474"/>
              <a:gd name="connsiteY106" fmla="*/ 1964373 h 6858000"/>
              <a:gd name="connsiteX107" fmla="*/ 2601336 w 9595474"/>
              <a:gd name="connsiteY107" fmla="*/ 1958658 h 6858000"/>
              <a:gd name="connsiteX108" fmla="*/ 2599858 w 9595474"/>
              <a:gd name="connsiteY108" fmla="*/ 1952625 h 6858000"/>
              <a:gd name="connsiteX109" fmla="*/ 2598085 w 9595474"/>
              <a:gd name="connsiteY109" fmla="*/ 1946910 h 6858000"/>
              <a:gd name="connsiteX110" fmla="*/ 2596016 w 9595474"/>
              <a:gd name="connsiteY110" fmla="*/ 1941195 h 6858000"/>
              <a:gd name="connsiteX111" fmla="*/ 2593651 w 9595474"/>
              <a:gd name="connsiteY111" fmla="*/ 1935798 h 6858000"/>
              <a:gd name="connsiteX112" fmla="*/ 2590991 w 9595474"/>
              <a:gd name="connsiteY112" fmla="*/ 1930400 h 6858000"/>
              <a:gd name="connsiteX113" fmla="*/ 2588035 w 9595474"/>
              <a:gd name="connsiteY113" fmla="*/ 1925003 h 6858000"/>
              <a:gd name="connsiteX114" fmla="*/ 2584784 w 9595474"/>
              <a:gd name="connsiteY114" fmla="*/ 1919923 h 6858000"/>
              <a:gd name="connsiteX115" fmla="*/ 2581237 w 9595474"/>
              <a:gd name="connsiteY115" fmla="*/ 1915160 h 6858000"/>
              <a:gd name="connsiteX116" fmla="*/ 2577395 w 9595474"/>
              <a:gd name="connsiteY116" fmla="*/ 1910080 h 6858000"/>
              <a:gd name="connsiteX117" fmla="*/ 2573257 w 9595474"/>
              <a:gd name="connsiteY117" fmla="*/ 1905318 h 6858000"/>
              <a:gd name="connsiteX118" fmla="*/ 2569119 w 9595474"/>
              <a:gd name="connsiteY118" fmla="*/ 1900555 h 6858000"/>
              <a:gd name="connsiteX119" fmla="*/ 1590477 w 9595474"/>
              <a:gd name="connsiteY119" fmla="*/ 922020 h 6858000"/>
              <a:gd name="connsiteX120" fmla="*/ 1272736 w 9595474"/>
              <a:gd name="connsiteY120" fmla="*/ 604203 h 6858000"/>
              <a:gd name="connsiteX121" fmla="*/ 1268303 w 9595474"/>
              <a:gd name="connsiteY121" fmla="*/ 599440 h 6858000"/>
              <a:gd name="connsiteX122" fmla="*/ 1264165 w 9595474"/>
              <a:gd name="connsiteY122" fmla="*/ 594995 h 6858000"/>
              <a:gd name="connsiteX123" fmla="*/ 1260322 w 9595474"/>
              <a:gd name="connsiteY123" fmla="*/ 589915 h 6858000"/>
              <a:gd name="connsiteX124" fmla="*/ 1256776 w 9595474"/>
              <a:gd name="connsiteY124" fmla="*/ 584835 h 6858000"/>
              <a:gd name="connsiteX125" fmla="*/ 1253524 w 9595474"/>
              <a:gd name="connsiteY125" fmla="*/ 579755 h 6858000"/>
              <a:gd name="connsiteX126" fmla="*/ 1250864 w 9595474"/>
              <a:gd name="connsiteY126" fmla="*/ 574358 h 6858000"/>
              <a:gd name="connsiteX127" fmla="*/ 1247908 w 9595474"/>
              <a:gd name="connsiteY127" fmla="*/ 568960 h 6858000"/>
              <a:gd name="connsiteX128" fmla="*/ 1245839 w 9595474"/>
              <a:gd name="connsiteY128" fmla="*/ 563563 h 6858000"/>
              <a:gd name="connsiteX129" fmla="*/ 1243475 w 9595474"/>
              <a:gd name="connsiteY129" fmla="*/ 557848 h 6858000"/>
              <a:gd name="connsiteX130" fmla="*/ 1241701 w 9595474"/>
              <a:gd name="connsiteY130" fmla="*/ 552133 h 6858000"/>
              <a:gd name="connsiteX131" fmla="*/ 1239928 w 9595474"/>
              <a:gd name="connsiteY131" fmla="*/ 546418 h 6858000"/>
              <a:gd name="connsiteX132" fmla="*/ 1238746 w 9595474"/>
              <a:gd name="connsiteY132" fmla="*/ 540703 h 6858000"/>
              <a:gd name="connsiteX133" fmla="*/ 1237859 w 9595474"/>
              <a:gd name="connsiteY133" fmla="*/ 534988 h 6858000"/>
              <a:gd name="connsiteX134" fmla="*/ 1236972 w 9595474"/>
              <a:gd name="connsiteY134" fmla="*/ 528638 h 6858000"/>
              <a:gd name="connsiteX135" fmla="*/ 1236677 w 9595474"/>
              <a:gd name="connsiteY135" fmla="*/ 522923 h 6858000"/>
              <a:gd name="connsiteX136" fmla="*/ 1236381 w 9595474"/>
              <a:gd name="connsiteY136" fmla="*/ 516890 h 6858000"/>
              <a:gd name="connsiteX137" fmla="*/ 1236677 w 9595474"/>
              <a:gd name="connsiteY137" fmla="*/ 511175 h 6858000"/>
              <a:gd name="connsiteX138" fmla="*/ 1236972 w 9595474"/>
              <a:gd name="connsiteY138" fmla="*/ 505460 h 6858000"/>
              <a:gd name="connsiteX139" fmla="*/ 1237859 w 9595474"/>
              <a:gd name="connsiteY139" fmla="*/ 499428 h 6858000"/>
              <a:gd name="connsiteX140" fmla="*/ 1238746 w 9595474"/>
              <a:gd name="connsiteY140" fmla="*/ 493713 h 6858000"/>
              <a:gd name="connsiteX141" fmla="*/ 1239928 w 9595474"/>
              <a:gd name="connsiteY141" fmla="*/ 487680 h 6858000"/>
              <a:gd name="connsiteX142" fmla="*/ 1241701 w 9595474"/>
              <a:gd name="connsiteY142" fmla="*/ 481965 h 6858000"/>
              <a:gd name="connsiteX143" fmla="*/ 1243475 w 9595474"/>
              <a:gd name="connsiteY143" fmla="*/ 476250 h 6858000"/>
              <a:gd name="connsiteX144" fmla="*/ 1245839 w 9595474"/>
              <a:gd name="connsiteY144" fmla="*/ 470535 h 6858000"/>
              <a:gd name="connsiteX145" fmla="*/ 1247908 w 9595474"/>
              <a:gd name="connsiteY145" fmla="*/ 465138 h 6858000"/>
              <a:gd name="connsiteX146" fmla="*/ 1250864 w 9595474"/>
              <a:gd name="connsiteY146" fmla="*/ 459740 h 6858000"/>
              <a:gd name="connsiteX147" fmla="*/ 1253524 w 9595474"/>
              <a:gd name="connsiteY147" fmla="*/ 454343 h 6858000"/>
              <a:gd name="connsiteX148" fmla="*/ 1256776 w 9595474"/>
              <a:gd name="connsiteY148" fmla="*/ 449263 h 6858000"/>
              <a:gd name="connsiteX149" fmla="*/ 1260322 w 9595474"/>
              <a:gd name="connsiteY149" fmla="*/ 444500 h 6858000"/>
              <a:gd name="connsiteX150" fmla="*/ 1264165 w 9595474"/>
              <a:gd name="connsiteY150" fmla="*/ 439420 h 6858000"/>
              <a:gd name="connsiteX151" fmla="*/ 1268303 w 9595474"/>
              <a:gd name="connsiteY151" fmla="*/ 434658 h 6858000"/>
              <a:gd name="connsiteX152" fmla="*/ 1272736 w 9595474"/>
              <a:gd name="connsiteY152" fmla="*/ 429895 h 6858000"/>
              <a:gd name="connsiteX153" fmla="*/ 1277466 w 9595474"/>
              <a:gd name="connsiteY153" fmla="*/ 425768 h 6858000"/>
              <a:gd name="connsiteX154" fmla="*/ 1281899 w 9595474"/>
              <a:gd name="connsiteY154" fmla="*/ 421323 h 6858000"/>
              <a:gd name="connsiteX155" fmla="*/ 1286924 w 9595474"/>
              <a:gd name="connsiteY155" fmla="*/ 417830 h 6858000"/>
              <a:gd name="connsiteX156" fmla="*/ 1291949 w 9595474"/>
              <a:gd name="connsiteY156" fmla="*/ 414338 h 6858000"/>
              <a:gd name="connsiteX157" fmla="*/ 1296973 w 9595474"/>
              <a:gd name="connsiteY157" fmla="*/ 410845 h 6858000"/>
              <a:gd name="connsiteX158" fmla="*/ 1302589 w 9595474"/>
              <a:gd name="connsiteY158" fmla="*/ 407988 h 6858000"/>
              <a:gd name="connsiteX159" fmla="*/ 1307910 w 9595474"/>
              <a:gd name="connsiteY159" fmla="*/ 405130 h 6858000"/>
              <a:gd name="connsiteX160" fmla="*/ 1313230 w 9595474"/>
              <a:gd name="connsiteY160" fmla="*/ 402908 h 6858000"/>
              <a:gd name="connsiteX161" fmla="*/ 1318846 w 9595474"/>
              <a:gd name="connsiteY161" fmla="*/ 401003 h 6858000"/>
              <a:gd name="connsiteX162" fmla="*/ 1324757 w 9595474"/>
              <a:gd name="connsiteY162" fmla="*/ 399098 h 6858000"/>
              <a:gd name="connsiteX163" fmla="*/ 1330373 w 9595474"/>
              <a:gd name="connsiteY163" fmla="*/ 397193 h 6858000"/>
              <a:gd name="connsiteX164" fmla="*/ 1336285 w 9595474"/>
              <a:gd name="connsiteY164" fmla="*/ 396240 h 6858000"/>
              <a:gd name="connsiteX165" fmla="*/ 1341901 w 9595474"/>
              <a:gd name="connsiteY165" fmla="*/ 395288 h 6858000"/>
              <a:gd name="connsiteX166" fmla="*/ 1348108 w 9595474"/>
              <a:gd name="connsiteY166" fmla="*/ 394335 h 6858000"/>
              <a:gd name="connsiteX167" fmla="*/ 1353723 w 9595474"/>
              <a:gd name="connsiteY167" fmla="*/ 394018 h 6858000"/>
              <a:gd name="connsiteX168" fmla="*/ 1359930 w 9595474"/>
              <a:gd name="connsiteY168" fmla="*/ 393700 h 6858000"/>
              <a:gd name="connsiteX169" fmla="*/ 1365546 w 9595474"/>
              <a:gd name="connsiteY169" fmla="*/ 394018 h 6858000"/>
              <a:gd name="connsiteX170" fmla="*/ 1371458 w 9595474"/>
              <a:gd name="connsiteY170" fmla="*/ 394335 h 6858000"/>
              <a:gd name="connsiteX171" fmla="*/ 1377665 w 9595474"/>
              <a:gd name="connsiteY171" fmla="*/ 395288 h 6858000"/>
              <a:gd name="connsiteX172" fmla="*/ 1383281 w 9595474"/>
              <a:gd name="connsiteY172" fmla="*/ 396240 h 6858000"/>
              <a:gd name="connsiteX173" fmla="*/ 1388897 w 9595474"/>
              <a:gd name="connsiteY173" fmla="*/ 397193 h 6858000"/>
              <a:gd name="connsiteX174" fmla="*/ 1394808 w 9595474"/>
              <a:gd name="connsiteY174" fmla="*/ 399098 h 6858000"/>
              <a:gd name="connsiteX175" fmla="*/ 1400424 w 9595474"/>
              <a:gd name="connsiteY175" fmla="*/ 401003 h 6858000"/>
              <a:gd name="connsiteX176" fmla="*/ 1406335 w 9595474"/>
              <a:gd name="connsiteY176" fmla="*/ 402908 h 6858000"/>
              <a:gd name="connsiteX177" fmla="*/ 1411656 w 9595474"/>
              <a:gd name="connsiteY177" fmla="*/ 405130 h 6858000"/>
              <a:gd name="connsiteX178" fmla="*/ 1416976 w 9595474"/>
              <a:gd name="connsiteY178" fmla="*/ 407988 h 6858000"/>
              <a:gd name="connsiteX179" fmla="*/ 1422296 w 9595474"/>
              <a:gd name="connsiteY179" fmla="*/ 410845 h 6858000"/>
              <a:gd name="connsiteX180" fmla="*/ 1427617 w 9595474"/>
              <a:gd name="connsiteY180" fmla="*/ 414338 h 6858000"/>
              <a:gd name="connsiteX181" fmla="*/ 1432641 w 9595474"/>
              <a:gd name="connsiteY181" fmla="*/ 417830 h 6858000"/>
              <a:gd name="connsiteX182" fmla="*/ 1437666 w 9595474"/>
              <a:gd name="connsiteY182" fmla="*/ 421323 h 6858000"/>
              <a:gd name="connsiteX183" fmla="*/ 1442100 w 9595474"/>
              <a:gd name="connsiteY183" fmla="*/ 425768 h 6858000"/>
              <a:gd name="connsiteX184" fmla="*/ 1446829 w 9595474"/>
              <a:gd name="connsiteY184" fmla="*/ 429895 h 6858000"/>
              <a:gd name="connsiteX185" fmla="*/ 1907036 w 9595474"/>
              <a:gd name="connsiteY185" fmla="*/ 890270 h 6858000"/>
              <a:gd name="connsiteX186" fmla="*/ 2165662 w 9595474"/>
              <a:gd name="connsiteY186" fmla="*/ 1148715 h 6858000"/>
              <a:gd name="connsiteX187" fmla="*/ 2170391 w 9595474"/>
              <a:gd name="connsiteY187" fmla="*/ 1153160 h 6858000"/>
              <a:gd name="connsiteX188" fmla="*/ 2175416 w 9595474"/>
              <a:gd name="connsiteY188" fmla="*/ 1157288 h 6858000"/>
              <a:gd name="connsiteX189" fmla="*/ 2180145 w 9595474"/>
              <a:gd name="connsiteY189" fmla="*/ 1161098 h 6858000"/>
              <a:gd name="connsiteX190" fmla="*/ 2185170 w 9595474"/>
              <a:gd name="connsiteY190" fmla="*/ 1164590 h 6858000"/>
              <a:gd name="connsiteX191" fmla="*/ 2190490 w 9595474"/>
              <a:gd name="connsiteY191" fmla="*/ 1167765 h 6858000"/>
              <a:gd name="connsiteX192" fmla="*/ 2195810 w 9595474"/>
              <a:gd name="connsiteY192" fmla="*/ 1170623 h 6858000"/>
              <a:gd name="connsiteX193" fmla="*/ 2201130 w 9595474"/>
              <a:gd name="connsiteY193" fmla="*/ 1173480 h 6858000"/>
              <a:gd name="connsiteX194" fmla="*/ 2206746 w 9595474"/>
              <a:gd name="connsiteY194" fmla="*/ 1176020 h 6858000"/>
              <a:gd name="connsiteX195" fmla="*/ 2212362 w 9595474"/>
              <a:gd name="connsiteY195" fmla="*/ 1177925 h 6858000"/>
              <a:gd name="connsiteX196" fmla="*/ 2217683 w 9595474"/>
              <a:gd name="connsiteY196" fmla="*/ 1180148 h 6858000"/>
              <a:gd name="connsiteX197" fmla="*/ 2223594 w 9595474"/>
              <a:gd name="connsiteY197" fmla="*/ 1181418 h 6858000"/>
              <a:gd name="connsiteX198" fmla="*/ 2229505 w 9595474"/>
              <a:gd name="connsiteY198" fmla="*/ 1182688 h 6858000"/>
              <a:gd name="connsiteX199" fmla="*/ 2235417 w 9595474"/>
              <a:gd name="connsiteY199" fmla="*/ 1183640 h 6858000"/>
              <a:gd name="connsiteX200" fmla="*/ 2241033 w 9595474"/>
              <a:gd name="connsiteY200" fmla="*/ 1184275 h 6858000"/>
              <a:gd name="connsiteX201" fmla="*/ 2247240 w 9595474"/>
              <a:gd name="connsiteY201" fmla="*/ 1184593 h 6858000"/>
              <a:gd name="connsiteX202" fmla="*/ 2252856 w 9595474"/>
              <a:gd name="connsiteY202" fmla="*/ 1185228 h 6858000"/>
              <a:gd name="connsiteX203" fmla="*/ 2259063 w 9595474"/>
              <a:gd name="connsiteY203" fmla="*/ 1184593 h 6858000"/>
              <a:gd name="connsiteX204" fmla="*/ 2264679 w 9595474"/>
              <a:gd name="connsiteY204" fmla="*/ 1184275 h 6858000"/>
              <a:gd name="connsiteX205" fmla="*/ 2270590 w 9595474"/>
              <a:gd name="connsiteY205" fmla="*/ 1183640 h 6858000"/>
              <a:gd name="connsiteX206" fmla="*/ 2276797 w 9595474"/>
              <a:gd name="connsiteY206" fmla="*/ 1182688 h 6858000"/>
              <a:gd name="connsiteX207" fmla="*/ 2282413 w 9595474"/>
              <a:gd name="connsiteY207" fmla="*/ 1181418 h 6858000"/>
              <a:gd name="connsiteX208" fmla="*/ 2288029 w 9595474"/>
              <a:gd name="connsiteY208" fmla="*/ 1180148 h 6858000"/>
              <a:gd name="connsiteX209" fmla="*/ 2293940 w 9595474"/>
              <a:gd name="connsiteY209" fmla="*/ 1177925 h 6858000"/>
              <a:gd name="connsiteX210" fmla="*/ 2299261 w 9595474"/>
              <a:gd name="connsiteY210" fmla="*/ 1176020 h 6858000"/>
              <a:gd name="connsiteX211" fmla="*/ 2304581 w 9595474"/>
              <a:gd name="connsiteY211" fmla="*/ 1173480 h 6858000"/>
              <a:gd name="connsiteX212" fmla="*/ 2310492 w 9595474"/>
              <a:gd name="connsiteY212" fmla="*/ 1170623 h 6858000"/>
              <a:gd name="connsiteX213" fmla="*/ 2315517 w 9595474"/>
              <a:gd name="connsiteY213" fmla="*/ 1167765 h 6858000"/>
              <a:gd name="connsiteX214" fmla="*/ 2320837 w 9595474"/>
              <a:gd name="connsiteY214" fmla="*/ 1164590 h 6858000"/>
              <a:gd name="connsiteX215" fmla="*/ 2325862 w 9595474"/>
              <a:gd name="connsiteY215" fmla="*/ 1161098 h 6858000"/>
              <a:gd name="connsiteX216" fmla="*/ 2330887 w 9595474"/>
              <a:gd name="connsiteY216" fmla="*/ 1157288 h 6858000"/>
              <a:gd name="connsiteX217" fmla="*/ 2335616 w 9595474"/>
              <a:gd name="connsiteY217" fmla="*/ 1153160 h 6858000"/>
              <a:gd name="connsiteX218" fmla="*/ 2340345 w 9595474"/>
              <a:gd name="connsiteY218" fmla="*/ 1148715 h 6858000"/>
              <a:gd name="connsiteX219" fmla="*/ 2344483 w 9595474"/>
              <a:gd name="connsiteY219" fmla="*/ 1144270 h 6858000"/>
              <a:gd name="connsiteX220" fmla="*/ 2348621 w 9595474"/>
              <a:gd name="connsiteY220" fmla="*/ 1139508 h 6858000"/>
              <a:gd name="connsiteX221" fmla="*/ 2352464 w 9595474"/>
              <a:gd name="connsiteY221" fmla="*/ 1134428 h 6858000"/>
              <a:gd name="connsiteX222" fmla="*/ 2356011 w 9595474"/>
              <a:gd name="connsiteY222" fmla="*/ 1129348 h 6858000"/>
              <a:gd name="connsiteX223" fmla="*/ 2359262 w 9595474"/>
              <a:gd name="connsiteY223" fmla="*/ 1124268 h 6858000"/>
              <a:gd name="connsiteX224" fmla="*/ 2362218 w 9595474"/>
              <a:gd name="connsiteY224" fmla="*/ 1118870 h 6858000"/>
              <a:gd name="connsiteX225" fmla="*/ 2364582 w 9595474"/>
              <a:gd name="connsiteY225" fmla="*/ 1113473 h 6858000"/>
              <a:gd name="connsiteX226" fmla="*/ 2367242 w 9595474"/>
              <a:gd name="connsiteY226" fmla="*/ 1108075 h 6858000"/>
              <a:gd name="connsiteX227" fmla="*/ 2369311 w 9595474"/>
              <a:gd name="connsiteY227" fmla="*/ 1102360 h 6858000"/>
              <a:gd name="connsiteX228" fmla="*/ 2371085 w 9595474"/>
              <a:gd name="connsiteY228" fmla="*/ 1096645 h 6858000"/>
              <a:gd name="connsiteX229" fmla="*/ 2372563 w 9595474"/>
              <a:gd name="connsiteY229" fmla="*/ 1090930 h 6858000"/>
              <a:gd name="connsiteX230" fmla="*/ 2374041 w 9595474"/>
              <a:gd name="connsiteY230" fmla="*/ 1085215 h 6858000"/>
              <a:gd name="connsiteX231" fmla="*/ 2375223 w 9595474"/>
              <a:gd name="connsiteY231" fmla="*/ 1079500 h 6858000"/>
              <a:gd name="connsiteX232" fmla="*/ 2375814 w 9595474"/>
              <a:gd name="connsiteY232" fmla="*/ 1073785 h 6858000"/>
              <a:gd name="connsiteX233" fmla="*/ 2376110 w 9595474"/>
              <a:gd name="connsiteY233" fmla="*/ 1067753 h 6858000"/>
              <a:gd name="connsiteX234" fmla="*/ 2376110 w 9595474"/>
              <a:gd name="connsiteY234" fmla="*/ 1061720 h 6858000"/>
              <a:gd name="connsiteX235" fmla="*/ 2376110 w 9595474"/>
              <a:gd name="connsiteY235" fmla="*/ 1055688 h 6858000"/>
              <a:gd name="connsiteX236" fmla="*/ 2375814 w 9595474"/>
              <a:gd name="connsiteY236" fmla="*/ 1049973 h 6858000"/>
              <a:gd name="connsiteX237" fmla="*/ 2375223 w 9595474"/>
              <a:gd name="connsiteY237" fmla="*/ 1043940 h 6858000"/>
              <a:gd name="connsiteX238" fmla="*/ 2374041 w 9595474"/>
              <a:gd name="connsiteY238" fmla="*/ 1038225 h 6858000"/>
              <a:gd name="connsiteX239" fmla="*/ 2372563 w 9595474"/>
              <a:gd name="connsiteY239" fmla="*/ 1032510 h 6858000"/>
              <a:gd name="connsiteX240" fmla="*/ 2371085 w 9595474"/>
              <a:gd name="connsiteY240" fmla="*/ 1026795 h 6858000"/>
              <a:gd name="connsiteX241" fmla="*/ 2369311 w 9595474"/>
              <a:gd name="connsiteY241" fmla="*/ 1021080 h 6858000"/>
              <a:gd name="connsiteX242" fmla="*/ 2367242 w 9595474"/>
              <a:gd name="connsiteY242" fmla="*/ 1015683 h 6858000"/>
              <a:gd name="connsiteX243" fmla="*/ 2364582 w 9595474"/>
              <a:gd name="connsiteY243" fmla="*/ 1009650 h 6858000"/>
              <a:gd name="connsiteX244" fmla="*/ 2362218 w 9595474"/>
              <a:gd name="connsiteY244" fmla="*/ 1004253 h 6858000"/>
              <a:gd name="connsiteX245" fmla="*/ 2359262 w 9595474"/>
              <a:gd name="connsiteY245" fmla="*/ 998855 h 6858000"/>
              <a:gd name="connsiteX246" fmla="*/ 2356011 w 9595474"/>
              <a:gd name="connsiteY246" fmla="*/ 994093 h 6858000"/>
              <a:gd name="connsiteX247" fmla="*/ 2352464 w 9595474"/>
              <a:gd name="connsiteY247" fmla="*/ 989013 h 6858000"/>
              <a:gd name="connsiteX248" fmla="*/ 2348621 w 9595474"/>
              <a:gd name="connsiteY248" fmla="*/ 983933 h 6858000"/>
              <a:gd name="connsiteX249" fmla="*/ 2344483 w 9595474"/>
              <a:gd name="connsiteY249" fmla="*/ 979170 h 6858000"/>
              <a:gd name="connsiteX250" fmla="*/ 2340345 w 9595474"/>
              <a:gd name="connsiteY250" fmla="*/ 974725 h 6858000"/>
              <a:gd name="connsiteX251" fmla="*/ 2240737 w 9595474"/>
              <a:gd name="connsiteY251" fmla="*/ 875030 h 6858000"/>
              <a:gd name="connsiteX252" fmla="*/ 1991865 w 9595474"/>
              <a:gd name="connsiteY252" fmla="*/ 626428 h 6858000"/>
              <a:gd name="connsiteX253" fmla="*/ 1987431 w 9595474"/>
              <a:gd name="connsiteY253" fmla="*/ 621665 h 6858000"/>
              <a:gd name="connsiteX254" fmla="*/ 1983589 w 9595474"/>
              <a:gd name="connsiteY254" fmla="*/ 616903 h 6858000"/>
              <a:gd name="connsiteX255" fmla="*/ 1979451 w 9595474"/>
              <a:gd name="connsiteY255" fmla="*/ 612140 h 6858000"/>
              <a:gd name="connsiteX256" fmla="*/ 1975904 w 9595474"/>
              <a:gd name="connsiteY256" fmla="*/ 607060 h 6858000"/>
              <a:gd name="connsiteX257" fmla="*/ 1972653 w 9595474"/>
              <a:gd name="connsiteY257" fmla="*/ 601663 h 6858000"/>
              <a:gd name="connsiteX258" fmla="*/ 1969993 w 9595474"/>
              <a:gd name="connsiteY258" fmla="*/ 596265 h 6858000"/>
              <a:gd name="connsiteX259" fmla="*/ 1967037 w 9595474"/>
              <a:gd name="connsiteY259" fmla="*/ 590868 h 6858000"/>
              <a:gd name="connsiteX260" fmla="*/ 1964968 w 9595474"/>
              <a:gd name="connsiteY260" fmla="*/ 585470 h 6858000"/>
              <a:gd name="connsiteX261" fmla="*/ 1962603 w 9595474"/>
              <a:gd name="connsiteY261" fmla="*/ 579755 h 6858000"/>
              <a:gd name="connsiteX262" fmla="*/ 1960830 w 9595474"/>
              <a:gd name="connsiteY262" fmla="*/ 574358 h 6858000"/>
              <a:gd name="connsiteX263" fmla="*/ 1959056 w 9595474"/>
              <a:gd name="connsiteY263" fmla="*/ 568643 h 6858000"/>
              <a:gd name="connsiteX264" fmla="*/ 1958170 w 9595474"/>
              <a:gd name="connsiteY264" fmla="*/ 562610 h 6858000"/>
              <a:gd name="connsiteX265" fmla="*/ 1956987 w 9595474"/>
              <a:gd name="connsiteY265" fmla="*/ 556895 h 6858000"/>
              <a:gd name="connsiteX266" fmla="*/ 1956396 w 9595474"/>
              <a:gd name="connsiteY266" fmla="*/ 551180 h 6858000"/>
              <a:gd name="connsiteX267" fmla="*/ 1955805 w 9595474"/>
              <a:gd name="connsiteY267" fmla="*/ 544830 h 6858000"/>
              <a:gd name="connsiteX268" fmla="*/ 1955805 w 9595474"/>
              <a:gd name="connsiteY268" fmla="*/ 539115 h 6858000"/>
              <a:gd name="connsiteX269" fmla="*/ 1955805 w 9595474"/>
              <a:gd name="connsiteY269" fmla="*/ 533083 h 6858000"/>
              <a:gd name="connsiteX270" fmla="*/ 1956396 w 9595474"/>
              <a:gd name="connsiteY270" fmla="*/ 527368 h 6858000"/>
              <a:gd name="connsiteX271" fmla="*/ 1956987 w 9595474"/>
              <a:gd name="connsiteY271" fmla="*/ 521653 h 6858000"/>
              <a:gd name="connsiteX272" fmla="*/ 1958170 w 9595474"/>
              <a:gd name="connsiteY272" fmla="*/ 515620 h 6858000"/>
              <a:gd name="connsiteX273" fmla="*/ 1959056 w 9595474"/>
              <a:gd name="connsiteY273" fmla="*/ 509588 h 6858000"/>
              <a:gd name="connsiteX274" fmla="*/ 1960830 w 9595474"/>
              <a:gd name="connsiteY274" fmla="*/ 503873 h 6858000"/>
              <a:gd name="connsiteX275" fmla="*/ 1962603 w 9595474"/>
              <a:gd name="connsiteY275" fmla="*/ 498158 h 6858000"/>
              <a:gd name="connsiteX276" fmla="*/ 1964968 w 9595474"/>
              <a:gd name="connsiteY276" fmla="*/ 492760 h 6858000"/>
              <a:gd name="connsiteX277" fmla="*/ 1967037 w 9595474"/>
              <a:gd name="connsiteY277" fmla="*/ 487363 h 6858000"/>
              <a:gd name="connsiteX278" fmla="*/ 1969993 w 9595474"/>
              <a:gd name="connsiteY278" fmla="*/ 481648 h 6858000"/>
              <a:gd name="connsiteX279" fmla="*/ 1972653 w 9595474"/>
              <a:gd name="connsiteY279" fmla="*/ 476568 h 6858000"/>
              <a:gd name="connsiteX280" fmla="*/ 1975904 w 9595474"/>
              <a:gd name="connsiteY280" fmla="*/ 471170 h 6858000"/>
              <a:gd name="connsiteX281" fmla="*/ 1979451 w 9595474"/>
              <a:gd name="connsiteY281" fmla="*/ 466408 h 6858000"/>
              <a:gd name="connsiteX282" fmla="*/ 1983589 w 9595474"/>
              <a:gd name="connsiteY282" fmla="*/ 461328 h 6858000"/>
              <a:gd name="connsiteX283" fmla="*/ 1987431 w 9595474"/>
              <a:gd name="connsiteY283" fmla="*/ 456565 h 6858000"/>
              <a:gd name="connsiteX284" fmla="*/ 1991865 w 9595474"/>
              <a:gd name="connsiteY284" fmla="*/ 451803 h 6858000"/>
              <a:gd name="connsiteX285" fmla="*/ 1996594 w 9595474"/>
              <a:gd name="connsiteY285" fmla="*/ 447675 h 6858000"/>
              <a:gd name="connsiteX286" fmla="*/ 2001028 w 9595474"/>
              <a:gd name="connsiteY286" fmla="*/ 443548 h 6858000"/>
              <a:gd name="connsiteX287" fmla="*/ 2006052 w 9595474"/>
              <a:gd name="connsiteY287" fmla="*/ 439738 h 6858000"/>
              <a:gd name="connsiteX288" fmla="*/ 2011077 w 9595474"/>
              <a:gd name="connsiteY288" fmla="*/ 436245 h 6858000"/>
              <a:gd name="connsiteX289" fmla="*/ 2016102 w 9595474"/>
              <a:gd name="connsiteY289" fmla="*/ 432753 h 6858000"/>
              <a:gd name="connsiteX290" fmla="*/ 2021718 w 9595474"/>
              <a:gd name="connsiteY290" fmla="*/ 429895 h 6858000"/>
              <a:gd name="connsiteX291" fmla="*/ 2027038 w 9595474"/>
              <a:gd name="connsiteY291" fmla="*/ 427355 h 6858000"/>
              <a:gd name="connsiteX292" fmla="*/ 2032654 w 9595474"/>
              <a:gd name="connsiteY292" fmla="*/ 424815 h 6858000"/>
              <a:gd name="connsiteX293" fmla="*/ 2038270 w 9595474"/>
              <a:gd name="connsiteY293" fmla="*/ 422910 h 6858000"/>
              <a:gd name="connsiteX294" fmla="*/ 2043886 w 9595474"/>
              <a:gd name="connsiteY294" fmla="*/ 421005 h 6858000"/>
              <a:gd name="connsiteX295" fmla="*/ 2049502 w 9595474"/>
              <a:gd name="connsiteY295" fmla="*/ 419735 h 6858000"/>
              <a:gd name="connsiteX296" fmla="*/ 2055413 w 9595474"/>
              <a:gd name="connsiteY296" fmla="*/ 418148 h 6858000"/>
              <a:gd name="connsiteX297" fmla="*/ 2061029 w 9595474"/>
              <a:gd name="connsiteY297" fmla="*/ 417195 h 6858000"/>
              <a:gd name="connsiteX298" fmla="*/ 2067236 w 9595474"/>
              <a:gd name="connsiteY298" fmla="*/ 416243 h 6858000"/>
              <a:gd name="connsiteX299" fmla="*/ 2072852 w 9595474"/>
              <a:gd name="connsiteY299" fmla="*/ 415925 h 6858000"/>
              <a:gd name="connsiteX300" fmla="*/ 2079059 w 9595474"/>
              <a:gd name="connsiteY300" fmla="*/ 415925 h 6858000"/>
              <a:gd name="connsiteX301" fmla="*/ 2084970 w 9595474"/>
              <a:gd name="connsiteY301" fmla="*/ 415925 h 6858000"/>
              <a:gd name="connsiteX302" fmla="*/ 2090882 w 9595474"/>
              <a:gd name="connsiteY302" fmla="*/ 416243 h 6858000"/>
              <a:gd name="connsiteX303" fmla="*/ 2096793 w 9595474"/>
              <a:gd name="connsiteY303" fmla="*/ 417195 h 6858000"/>
              <a:gd name="connsiteX304" fmla="*/ 2102409 w 9595474"/>
              <a:gd name="connsiteY304" fmla="*/ 418148 h 6858000"/>
              <a:gd name="connsiteX305" fmla="*/ 2108321 w 9595474"/>
              <a:gd name="connsiteY305" fmla="*/ 419735 h 6858000"/>
              <a:gd name="connsiteX306" fmla="*/ 2113936 w 9595474"/>
              <a:gd name="connsiteY306" fmla="*/ 421005 h 6858000"/>
              <a:gd name="connsiteX307" fmla="*/ 2119552 w 9595474"/>
              <a:gd name="connsiteY307" fmla="*/ 422910 h 6858000"/>
              <a:gd name="connsiteX308" fmla="*/ 2125464 w 9595474"/>
              <a:gd name="connsiteY308" fmla="*/ 424815 h 6858000"/>
              <a:gd name="connsiteX309" fmla="*/ 2130784 w 9595474"/>
              <a:gd name="connsiteY309" fmla="*/ 427355 h 6858000"/>
              <a:gd name="connsiteX310" fmla="*/ 2136104 w 9595474"/>
              <a:gd name="connsiteY310" fmla="*/ 429895 h 6858000"/>
              <a:gd name="connsiteX311" fmla="*/ 2141720 w 9595474"/>
              <a:gd name="connsiteY311" fmla="*/ 432753 h 6858000"/>
              <a:gd name="connsiteX312" fmla="*/ 2146745 w 9595474"/>
              <a:gd name="connsiteY312" fmla="*/ 436245 h 6858000"/>
              <a:gd name="connsiteX313" fmla="*/ 2152065 w 9595474"/>
              <a:gd name="connsiteY313" fmla="*/ 439738 h 6858000"/>
              <a:gd name="connsiteX314" fmla="*/ 2156795 w 9595474"/>
              <a:gd name="connsiteY314" fmla="*/ 443548 h 6858000"/>
              <a:gd name="connsiteX315" fmla="*/ 2161819 w 9595474"/>
              <a:gd name="connsiteY315" fmla="*/ 447675 h 6858000"/>
              <a:gd name="connsiteX316" fmla="*/ 2165957 w 9595474"/>
              <a:gd name="connsiteY316" fmla="*/ 451803 h 6858000"/>
              <a:gd name="connsiteX317" fmla="*/ 2966073 w 9595474"/>
              <a:gd name="connsiteY317" fmla="*/ 1251903 h 6858000"/>
              <a:gd name="connsiteX318" fmla="*/ 5612631 w 9595474"/>
              <a:gd name="connsiteY318" fmla="*/ 3898583 h 6858000"/>
              <a:gd name="connsiteX319" fmla="*/ 5617360 w 9595474"/>
              <a:gd name="connsiteY319" fmla="*/ 3903345 h 6858000"/>
              <a:gd name="connsiteX320" fmla="*/ 5621498 w 9595474"/>
              <a:gd name="connsiteY320" fmla="*/ 3908425 h 6858000"/>
              <a:gd name="connsiteX321" fmla="*/ 5625341 w 9595474"/>
              <a:gd name="connsiteY321" fmla="*/ 3913505 h 6858000"/>
              <a:gd name="connsiteX322" fmla="*/ 5628888 w 9595474"/>
              <a:gd name="connsiteY322" fmla="*/ 3918585 h 6858000"/>
              <a:gd name="connsiteX323" fmla="*/ 5632139 w 9595474"/>
              <a:gd name="connsiteY323" fmla="*/ 3923348 h 6858000"/>
              <a:gd name="connsiteX324" fmla="*/ 5635094 w 9595474"/>
              <a:gd name="connsiteY324" fmla="*/ 3928745 h 6858000"/>
              <a:gd name="connsiteX325" fmla="*/ 5638050 w 9595474"/>
              <a:gd name="connsiteY325" fmla="*/ 3934460 h 6858000"/>
              <a:gd name="connsiteX326" fmla="*/ 5640415 w 9595474"/>
              <a:gd name="connsiteY326" fmla="*/ 3939858 h 6858000"/>
              <a:gd name="connsiteX327" fmla="*/ 5642484 w 9595474"/>
              <a:gd name="connsiteY327" fmla="*/ 3945890 h 6858000"/>
              <a:gd name="connsiteX328" fmla="*/ 5644257 w 9595474"/>
              <a:gd name="connsiteY328" fmla="*/ 3951605 h 6858000"/>
              <a:gd name="connsiteX329" fmla="*/ 5645735 w 9595474"/>
              <a:gd name="connsiteY329" fmla="*/ 3957320 h 6858000"/>
              <a:gd name="connsiteX330" fmla="*/ 5647213 w 9595474"/>
              <a:gd name="connsiteY330" fmla="*/ 3963353 h 6858000"/>
              <a:gd name="connsiteX331" fmla="*/ 5648100 w 9595474"/>
              <a:gd name="connsiteY331" fmla="*/ 3969068 h 6858000"/>
              <a:gd name="connsiteX332" fmla="*/ 5648691 w 9595474"/>
              <a:gd name="connsiteY332" fmla="*/ 3975100 h 6858000"/>
              <a:gd name="connsiteX333" fmla="*/ 5649282 w 9595474"/>
              <a:gd name="connsiteY333" fmla="*/ 3980815 h 6858000"/>
              <a:gd name="connsiteX334" fmla="*/ 5649282 w 9595474"/>
              <a:gd name="connsiteY334" fmla="*/ 3987165 h 6858000"/>
              <a:gd name="connsiteX335" fmla="*/ 5649282 w 9595474"/>
              <a:gd name="connsiteY335" fmla="*/ 3992880 h 6858000"/>
              <a:gd name="connsiteX336" fmla="*/ 5648691 w 9595474"/>
              <a:gd name="connsiteY336" fmla="*/ 3998913 h 6858000"/>
              <a:gd name="connsiteX337" fmla="*/ 5648100 w 9595474"/>
              <a:gd name="connsiteY337" fmla="*/ 4004945 h 6858000"/>
              <a:gd name="connsiteX338" fmla="*/ 5647213 w 9595474"/>
              <a:gd name="connsiteY338" fmla="*/ 4010660 h 6858000"/>
              <a:gd name="connsiteX339" fmla="*/ 5645735 w 9595474"/>
              <a:gd name="connsiteY339" fmla="*/ 4016375 h 6858000"/>
              <a:gd name="connsiteX340" fmla="*/ 5644257 w 9595474"/>
              <a:gd name="connsiteY340" fmla="*/ 4022725 h 6858000"/>
              <a:gd name="connsiteX341" fmla="*/ 5642484 w 9595474"/>
              <a:gd name="connsiteY341" fmla="*/ 4028440 h 6858000"/>
              <a:gd name="connsiteX342" fmla="*/ 5640415 w 9595474"/>
              <a:gd name="connsiteY342" fmla="*/ 4033838 h 6858000"/>
              <a:gd name="connsiteX343" fmla="*/ 5638050 w 9595474"/>
              <a:gd name="connsiteY343" fmla="*/ 4039553 h 6858000"/>
              <a:gd name="connsiteX344" fmla="*/ 5635094 w 9595474"/>
              <a:gd name="connsiteY344" fmla="*/ 4044950 h 6858000"/>
              <a:gd name="connsiteX345" fmla="*/ 5632139 w 9595474"/>
              <a:gd name="connsiteY345" fmla="*/ 4050348 h 6858000"/>
              <a:gd name="connsiteX346" fmla="*/ 5628888 w 9595474"/>
              <a:gd name="connsiteY346" fmla="*/ 4055745 h 6858000"/>
              <a:gd name="connsiteX347" fmla="*/ 5625341 w 9595474"/>
              <a:gd name="connsiteY347" fmla="*/ 4060825 h 6858000"/>
              <a:gd name="connsiteX348" fmla="*/ 5621498 w 9595474"/>
              <a:gd name="connsiteY348" fmla="*/ 4065588 h 6858000"/>
              <a:gd name="connsiteX349" fmla="*/ 5617360 w 9595474"/>
              <a:gd name="connsiteY349" fmla="*/ 4070350 h 6858000"/>
              <a:gd name="connsiteX350" fmla="*/ 5612631 w 9595474"/>
              <a:gd name="connsiteY350" fmla="*/ 4075113 h 6858000"/>
              <a:gd name="connsiteX351" fmla="*/ 5608198 w 9595474"/>
              <a:gd name="connsiteY351" fmla="*/ 4079875 h 6858000"/>
              <a:gd name="connsiteX352" fmla="*/ 5603468 w 9595474"/>
              <a:gd name="connsiteY352" fmla="*/ 4083685 h 6858000"/>
              <a:gd name="connsiteX353" fmla="*/ 5598443 w 9595474"/>
              <a:gd name="connsiteY353" fmla="*/ 4087495 h 6858000"/>
              <a:gd name="connsiteX354" fmla="*/ 5593419 w 9595474"/>
              <a:gd name="connsiteY354" fmla="*/ 4091305 h 6858000"/>
              <a:gd name="connsiteX355" fmla="*/ 5588098 w 9595474"/>
              <a:gd name="connsiteY355" fmla="*/ 4094480 h 6858000"/>
              <a:gd name="connsiteX356" fmla="*/ 5582482 w 9595474"/>
              <a:gd name="connsiteY356" fmla="*/ 4097338 h 6858000"/>
              <a:gd name="connsiteX357" fmla="*/ 5577162 w 9595474"/>
              <a:gd name="connsiteY357" fmla="*/ 4100195 h 6858000"/>
              <a:gd name="connsiteX358" fmla="*/ 5571842 w 9595474"/>
              <a:gd name="connsiteY358" fmla="*/ 4102418 h 6858000"/>
              <a:gd name="connsiteX359" fmla="*/ 5565931 w 9595474"/>
              <a:gd name="connsiteY359" fmla="*/ 4104640 h 6858000"/>
              <a:gd name="connsiteX360" fmla="*/ 5560315 w 9595474"/>
              <a:gd name="connsiteY360" fmla="*/ 4106545 h 6858000"/>
              <a:gd name="connsiteX361" fmla="*/ 5554699 w 9595474"/>
              <a:gd name="connsiteY361" fmla="*/ 4108133 h 6858000"/>
              <a:gd name="connsiteX362" fmla="*/ 5548492 w 9595474"/>
              <a:gd name="connsiteY362" fmla="*/ 4109403 h 6858000"/>
              <a:gd name="connsiteX363" fmla="*/ 5542580 w 9595474"/>
              <a:gd name="connsiteY363" fmla="*/ 4110355 h 6858000"/>
              <a:gd name="connsiteX364" fmla="*/ 5536669 w 9595474"/>
              <a:gd name="connsiteY364" fmla="*/ 4110990 h 6858000"/>
              <a:gd name="connsiteX365" fmla="*/ 5530758 w 9595474"/>
              <a:gd name="connsiteY365" fmla="*/ 4111308 h 6858000"/>
              <a:gd name="connsiteX366" fmla="*/ 5524846 w 9595474"/>
              <a:gd name="connsiteY366" fmla="*/ 4111625 h 6858000"/>
              <a:gd name="connsiteX367" fmla="*/ 5518639 w 9595474"/>
              <a:gd name="connsiteY367" fmla="*/ 4111308 h 6858000"/>
              <a:gd name="connsiteX368" fmla="*/ 5513023 w 9595474"/>
              <a:gd name="connsiteY368" fmla="*/ 4110990 h 6858000"/>
              <a:gd name="connsiteX369" fmla="*/ 5506816 w 9595474"/>
              <a:gd name="connsiteY369" fmla="*/ 4110355 h 6858000"/>
              <a:gd name="connsiteX370" fmla="*/ 5501200 w 9595474"/>
              <a:gd name="connsiteY370" fmla="*/ 4109403 h 6858000"/>
              <a:gd name="connsiteX371" fmla="*/ 5494993 w 9595474"/>
              <a:gd name="connsiteY371" fmla="*/ 4108133 h 6858000"/>
              <a:gd name="connsiteX372" fmla="*/ 5489081 w 9595474"/>
              <a:gd name="connsiteY372" fmla="*/ 4106545 h 6858000"/>
              <a:gd name="connsiteX373" fmla="*/ 5483466 w 9595474"/>
              <a:gd name="connsiteY373" fmla="*/ 4104640 h 6858000"/>
              <a:gd name="connsiteX374" fmla="*/ 5477850 w 9595474"/>
              <a:gd name="connsiteY374" fmla="*/ 4102418 h 6858000"/>
              <a:gd name="connsiteX375" fmla="*/ 5472234 w 9595474"/>
              <a:gd name="connsiteY375" fmla="*/ 4100195 h 6858000"/>
              <a:gd name="connsiteX376" fmla="*/ 5466913 w 9595474"/>
              <a:gd name="connsiteY376" fmla="*/ 4097338 h 6858000"/>
              <a:gd name="connsiteX377" fmla="*/ 5461593 w 9595474"/>
              <a:gd name="connsiteY377" fmla="*/ 4094480 h 6858000"/>
              <a:gd name="connsiteX378" fmla="*/ 5456273 w 9595474"/>
              <a:gd name="connsiteY378" fmla="*/ 4091305 h 6858000"/>
              <a:gd name="connsiteX379" fmla="*/ 5451248 w 9595474"/>
              <a:gd name="connsiteY379" fmla="*/ 4087495 h 6858000"/>
              <a:gd name="connsiteX380" fmla="*/ 5446223 w 9595474"/>
              <a:gd name="connsiteY380" fmla="*/ 4083685 h 6858000"/>
              <a:gd name="connsiteX381" fmla="*/ 5441495 w 9595474"/>
              <a:gd name="connsiteY381" fmla="*/ 4079875 h 6858000"/>
              <a:gd name="connsiteX382" fmla="*/ 5436765 w 9595474"/>
              <a:gd name="connsiteY382" fmla="*/ 4075113 h 6858000"/>
              <a:gd name="connsiteX383" fmla="*/ 5322379 w 9595474"/>
              <a:gd name="connsiteY383" fmla="*/ 3960813 h 6858000"/>
              <a:gd name="connsiteX384" fmla="*/ 5317945 w 9595474"/>
              <a:gd name="connsiteY384" fmla="*/ 3956368 h 6858000"/>
              <a:gd name="connsiteX385" fmla="*/ 5312921 w 9595474"/>
              <a:gd name="connsiteY385" fmla="*/ 3952240 h 6858000"/>
              <a:gd name="connsiteX386" fmla="*/ 5307896 w 9595474"/>
              <a:gd name="connsiteY386" fmla="*/ 3948748 h 6858000"/>
              <a:gd name="connsiteX387" fmla="*/ 5302871 w 9595474"/>
              <a:gd name="connsiteY387" fmla="*/ 3944938 h 6858000"/>
              <a:gd name="connsiteX388" fmla="*/ 5297255 w 9595474"/>
              <a:gd name="connsiteY388" fmla="*/ 3941763 h 6858000"/>
              <a:gd name="connsiteX389" fmla="*/ 5292230 w 9595474"/>
              <a:gd name="connsiteY389" fmla="*/ 3938588 h 6858000"/>
              <a:gd name="connsiteX390" fmla="*/ 5286615 w 9595474"/>
              <a:gd name="connsiteY390" fmla="*/ 3936048 h 6858000"/>
              <a:gd name="connsiteX391" fmla="*/ 5281294 w 9595474"/>
              <a:gd name="connsiteY391" fmla="*/ 3933508 h 6858000"/>
              <a:gd name="connsiteX392" fmla="*/ 5275383 w 9595474"/>
              <a:gd name="connsiteY392" fmla="*/ 3931285 h 6858000"/>
              <a:gd name="connsiteX393" fmla="*/ 5269767 w 9595474"/>
              <a:gd name="connsiteY393" fmla="*/ 3929698 h 6858000"/>
              <a:gd name="connsiteX394" fmla="*/ 5263855 w 9595474"/>
              <a:gd name="connsiteY394" fmla="*/ 3927793 h 6858000"/>
              <a:gd name="connsiteX395" fmla="*/ 5257944 w 9595474"/>
              <a:gd name="connsiteY395" fmla="*/ 3926840 h 6858000"/>
              <a:gd name="connsiteX396" fmla="*/ 5252033 w 9595474"/>
              <a:gd name="connsiteY396" fmla="*/ 3925570 h 6858000"/>
              <a:gd name="connsiteX397" fmla="*/ 5246121 w 9595474"/>
              <a:gd name="connsiteY397" fmla="*/ 3924935 h 6858000"/>
              <a:gd name="connsiteX398" fmla="*/ 5240210 w 9595474"/>
              <a:gd name="connsiteY398" fmla="*/ 3924618 h 6858000"/>
              <a:gd name="connsiteX399" fmla="*/ 5234298 w 9595474"/>
              <a:gd name="connsiteY399" fmla="*/ 3924618 h 6858000"/>
              <a:gd name="connsiteX400" fmla="*/ 5228091 w 9595474"/>
              <a:gd name="connsiteY400" fmla="*/ 3924618 h 6858000"/>
              <a:gd name="connsiteX401" fmla="*/ 5222180 w 9595474"/>
              <a:gd name="connsiteY401" fmla="*/ 3924935 h 6858000"/>
              <a:gd name="connsiteX402" fmla="*/ 5216268 w 9595474"/>
              <a:gd name="connsiteY402" fmla="*/ 3925570 h 6858000"/>
              <a:gd name="connsiteX403" fmla="*/ 5210357 w 9595474"/>
              <a:gd name="connsiteY403" fmla="*/ 3926840 h 6858000"/>
              <a:gd name="connsiteX404" fmla="*/ 5204741 w 9595474"/>
              <a:gd name="connsiteY404" fmla="*/ 3927793 h 6858000"/>
              <a:gd name="connsiteX405" fmla="*/ 5198534 w 9595474"/>
              <a:gd name="connsiteY405" fmla="*/ 3929698 h 6858000"/>
              <a:gd name="connsiteX406" fmla="*/ 5192918 w 9595474"/>
              <a:gd name="connsiteY406" fmla="*/ 3931285 h 6858000"/>
              <a:gd name="connsiteX407" fmla="*/ 5187598 w 9595474"/>
              <a:gd name="connsiteY407" fmla="*/ 3933508 h 6858000"/>
              <a:gd name="connsiteX408" fmla="*/ 5181686 w 9595474"/>
              <a:gd name="connsiteY408" fmla="*/ 3936048 h 6858000"/>
              <a:gd name="connsiteX409" fmla="*/ 5176366 w 9595474"/>
              <a:gd name="connsiteY409" fmla="*/ 3938588 h 6858000"/>
              <a:gd name="connsiteX410" fmla="*/ 5171046 w 9595474"/>
              <a:gd name="connsiteY410" fmla="*/ 3941763 h 6858000"/>
              <a:gd name="connsiteX411" fmla="*/ 5165430 w 9595474"/>
              <a:gd name="connsiteY411" fmla="*/ 3944938 h 6858000"/>
              <a:gd name="connsiteX412" fmla="*/ 5160405 w 9595474"/>
              <a:gd name="connsiteY412" fmla="*/ 3948748 h 6858000"/>
              <a:gd name="connsiteX413" fmla="*/ 5155380 w 9595474"/>
              <a:gd name="connsiteY413" fmla="*/ 3952240 h 6858000"/>
              <a:gd name="connsiteX414" fmla="*/ 5150947 w 9595474"/>
              <a:gd name="connsiteY414" fmla="*/ 3956368 h 6858000"/>
              <a:gd name="connsiteX415" fmla="*/ 5146218 w 9595474"/>
              <a:gd name="connsiteY415" fmla="*/ 3960813 h 6858000"/>
              <a:gd name="connsiteX416" fmla="*/ 5141488 w 9595474"/>
              <a:gd name="connsiteY416" fmla="*/ 3965575 h 6858000"/>
              <a:gd name="connsiteX417" fmla="*/ 5137646 w 9595474"/>
              <a:gd name="connsiteY417" fmla="*/ 3970655 h 6858000"/>
              <a:gd name="connsiteX418" fmla="*/ 5133508 w 9595474"/>
              <a:gd name="connsiteY418" fmla="*/ 3975100 h 6858000"/>
              <a:gd name="connsiteX419" fmla="*/ 5129961 w 9595474"/>
              <a:gd name="connsiteY419" fmla="*/ 3980498 h 6858000"/>
              <a:gd name="connsiteX420" fmla="*/ 5126710 w 9595474"/>
              <a:gd name="connsiteY420" fmla="*/ 3985578 h 6858000"/>
              <a:gd name="connsiteX421" fmla="*/ 5123754 w 9595474"/>
              <a:gd name="connsiteY421" fmla="*/ 3990975 h 6858000"/>
              <a:gd name="connsiteX422" fmla="*/ 5121094 w 9595474"/>
              <a:gd name="connsiteY422" fmla="*/ 3996373 h 6858000"/>
              <a:gd name="connsiteX423" fmla="*/ 5118729 w 9595474"/>
              <a:gd name="connsiteY423" fmla="*/ 4002088 h 6858000"/>
              <a:gd name="connsiteX424" fmla="*/ 5116660 w 9595474"/>
              <a:gd name="connsiteY424" fmla="*/ 4007803 h 6858000"/>
              <a:gd name="connsiteX425" fmla="*/ 5114591 w 9595474"/>
              <a:gd name="connsiteY425" fmla="*/ 4013518 h 6858000"/>
              <a:gd name="connsiteX426" fmla="*/ 5113113 w 9595474"/>
              <a:gd name="connsiteY426" fmla="*/ 4019233 h 6858000"/>
              <a:gd name="connsiteX427" fmla="*/ 5111636 w 9595474"/>
              <a:gd name="connsiteY427" fmla="*/ 4025265 h 6858000"/>
              <a:gd name="connsiteX428" fmla="*/ 5111044 w 9595474"/>
              <a:gd name="connsiteY428" fmla="*/ 4031298 h 6858000"/>
              <a:gd name="connsiteX429" fmla="*/ 5110158 w 9595474"/>
              <a:gd name="connsiteY429" fmla="*/ 4037013 h 6858000"/>
              <a:gd name="connsiteX430" fmla="*/ 5109862 w 9595474"/>
              <a:gd name="connsiteY430" fmla="*/ 4043045 h 6858000"/>
              <a:gd name="connsiteX431" fmla="*/ 5109567 w 9595474"/>
              <a:gd name="connsiteY431" fmla="*/ 4049078 h 6858000"/>
              <a:gd name="connsiteX432" fmla="*/ 5109862 w 9595474"/>
              <a:gd name="connsiteY432" fmla="*/ 4055110 h 6858000"/>
              <a:gd name="connsiteX433" fmla="*/ 5110158 w 9595474"/>
              <a:gd name="connsiteY433" fmla="*/ 4061143 h 6858000"/>
              <a:gd name="connsiteX434" fmla="*/ 5111044 w 9595474"/>
              <a:gd name="connsiteY434" fmla="*/ 4066858 h 6858000"/>
              <a:gd name="connsiteX435" fmla="*/ 5111636 w 9595474"/>
              <a:gd name="connsiteY435" fmla="*/ 4072890 h 6858000"/>
              <a:gd name="connsiteX436" fmla="*/ 5113113 w 9595474"/>
              <a:gd name="connsiteY436" fmla="*/ 4078605 h 6858000"/>
              <a:gd name="connsiteX437" fmla="*/ 5114591 w 9595474"/>
              <a:gd name="connsiteY437" fmla="*/ 4084320 h 6858000"/>
              <a:gd name="connsiteX438" fmla="*/ 5116660 w 9595474"/>
              <a:gd name="connsiteY438" fmla="*/ 4090035 h 6858000"/>
              <a:gd name="connsiteX439" fmla="*/ 5118729 w 9595474"/>
              <a:gd name="connsiteY439" fmla="*/ 4095750 h 6858000"/>
              <a:gd name="connsiteX440" fmla="*/ 5121094 w 9595474"/>
              <a:gd name="connsiteY440" fmla="*/ 4101783 h 6858000"/>
              <a:gd name="connsiteX441" fmla="*/ 5123754 w 9595474"/>
              <a:gd name="connsiteY441" fmla="*/ 4107180 h 6858000"/>
              <a:gd name="connsiteX442" fmla="*/ 5126710 w 9595474"/>
              <a:gd name="connsiteY442" fmla="*/ 4112578 h 6858000"/>
              <a:gd name="connsiteX443" fmla="*/ 5129961 w 9595474"/>
              <a:gd name="connsiteY443" fmla="*/ 4117975 h 6858000"/>
              <a:gd name="connsiteX444" fmla="*/ 5133508 w 9595474"/>
              <a:gd name="connsiteY444" fmla="*/ 4122738 h 6858000"/>
              <a:gd name="connsiteX445" fmla="*/ 5137646 w 9595474"/>
              <a:gd name="connsiteY445" fmla="*/ 4127818 h 6858000"/>
              <a:gd name="connsiteX446" fmla="*/ 5141488 w 9595474"/>
              <a:gd name="connsiteY446" fmla="*/ 4132580 h 6858000"/>
              <a:gd name="connsiteX447" fmla="*/ 5146218 w 9595474"/>
              <a:gd name="connsiteY447" fmla="*/ 4137343 h 6858000"/>
              <a:gd name="connsiteX448" fmla="*/ 5870075 w 9595474"/>
              <a:gd name="connsiteY448" fmla="*/ 4860925 h 6858000"/>
              <a:gd name="connsiteX449" fmla="*/ 5874509 w 9595474"/>
              <a:gd name="connsiteY449" fmla="*/ 4865688 h 6858000"/>
              <a:gd name="connsiteX450" fmla="*/ 5878646 w 9595474"/>
              <a:gd name="connsiteY450" fmla="*/ 4870768 h 6858000"/>
              <a:gd name="connsiteX451" fmla="*/ 5882489 w 9595474"/>
              <a:gd name="connsiteY451" fmla="*/ 4875848 h 6858000"/>
              <a:gd name="connsiteX452" fmla="*/ 5886036 w 9595474"/>
              <a:gd name="connsiteY452" fmla="*/ 4880928 h 6858000"/>
              <a:gd name="connsiteX453" fmla="*/ 5889287 w 9595474"/>
              <a:gd name="connsiteY453" fmla="*/ 4885690 h 6858000"/>
              <a:gd name="connsiteX454" fmla="*/ 5892243 w 9595474"/>
              <a:gd name="connsiteY454" fmla="*/ 4891088 h 6858000"/>
              <a:gd name="connsiteX455" fmla="*/ 5895199 w 9595474"/>
              <a:gd name="connsiteY455" fmla="*/ 4897120 h 6858000"/>
              <a:gd name="connsiteX456" fmla="*/ 5897268 w 9595474"/>
              <a:gd name="connsiteY456" fmla="*/ 4902518 h 6858000"/>
              <a:gd name="connsiteX457" fmla="*/ 5899336 w 9595474"/>
              <a:gd name="connsiteY457" fmla="*/ 4908233 h 6858000"/>
              <a:gd name="connsiteX458" fmla="*/ 5901701 w 9595474"/>
              <a:gd name="connsiteY458" fmla="*/ 4913948 h 6858000"/>
              <a:gd name="connsiteX459" fmla="*/ 5902883 w 9595474"/>
              <a:gd name="connsiteY459" fmla="*/ 4919663 h 6858000"/>
              <a:gd name="connsiteX460" fmla="*/ 5904066 w 9595474"/>
              <a:gd name="connsiteY460" fmla="*/ 4925695 h 6858000"/>
              <a:gd name="connsiteX461" fmla="*/ 5905248 w 9595474"/>
              <a:gd name="connsiteY461" fmla="*/ 4931410 h 6858000"/>
              <a:gd name="connsiteX462" fmla="*/ 5905840 w 9595474"/>
              <a:gd name="connsiteY462" fmla="*/ 4937443 h 6858000"/>
              <a:gd name="connsiteX463" fmla="*/ 5906135 w 9595474"/>
              <a:gd name="connsiteY463" fmla="*/ 4943475 h 6858000"/>
              <a:gd name="connsiteX464" fmla="*/ 5906726 w 9595474"/>
              <a:gd name="connsiteY464" fmla="*/ 4949508 h 6858000"/>
              <a:gd name="connsiteX465" fmla="*/ 5906135 w 9595474"/>
              <a:gd name="connsiteY465" fmla="*/ 4955223 h 6858000"/>
              <a:gd name="connsiteX466" fmla="*/ 5905840 w 9595474"/>
              <a:gd name="connsiteY466" fmla="*/ 4961255 h 6858000"/>
              <a:gd name="connsiteX467" fmla="*/ 5905248 w 9595474"/>
              <a:gd name="connsiteY467" fmla="*/ 4967288 h 6858000"/>
              <a:gd name="connsiteX468" fmla="*/ 5904066 w 9595474"/>
              <a:gd name="connsiteY468" fmla="*/ 4973003 h 6858000"/>
              <a:gd name="connsiteX469" fmla="*/ 5902883 w 9595474"/>
              <a:gd name="connsiteY469" fmla="*/ 4979035 h 6858000"/>
              <a:gd name="connsiteX470" fmla="*/ 5901701 w 9595474"/>
              <a:gd name="connsiteY470" fmla="*/ 4985068 h 6858000"/>
              <a:gd name="connsiteX471" fmla="*/ 5899336 w 9595474"/>
              <a:gd name="connsiteY471" fmla="*/ 4990783 h 6858000"/>
              <a:gd name="connsiteX472" fmla="*/ 5897268 w 9595474"/>
              <a:gd name="connsiteY472" fmla="*/ 4996180 h 6858000"/>
              <a:gd name="connsiteX473" fmla="*/ 5895199 w 9595474"/>
              <a:gd name="connsiteY473" fmla="*/ 5001895 h 6858000"/>
              <a:gd name="connsiteX474" fmla="*/ 5892243 w 9595474"/>
              <a:gd name="connsiteY474" fmla="*/ 5007293 h 6858000"/>
              <a:gd name="connsiteX475" fmla="*/ 5889287 w 9595474"/>
              <a:gd name="connsiteY475" fmla="*/ 5012690 h 6858000"/>
              <a:gd name="connsiteX476" fmla="*/ 5886036 w 9595474"/>
              <a:gd name="connsiteY476" fmla="*/ 5018088 h 6858000"/>
              <a:gd name="connsiteX477" fmla="*/ 5882489 w 9595474"/>
              <a:gd name="connsiteY477" fmla="*/ 5023168 h 6858000"/>
              <a:gd name="connsiteX478" fmla="*/ 5878646 w 9595474"/>
              <a:gd name="connsiteY478" fmla="*/ 5028248 h 6858000"/>
              <a:gd name="connsiteX479" fmla="*/ 5874509 w 9595474"/>
              <a:gd name="connsiteY479" fmla="*/ 5032693 h 6858000"/>
              <a:gd name="connsiteX480" fmla="*/ 5870075 w 9595474"/>
              <a:gd name="connsiteY480" fmla="*/ 5037455 h 6858000"/>
              <a:gd name="connsiteX481" fmla="*/ 5865346 w 9595474"/>
              <a:gd name="connsiteY481" fmla="*/ 5041900 h 6858000"/>
              <a:gd name="connsiteX482" fmla="*/ 5860617 w 9595474"/>
              <a:gd name="connsiteY482" fmla="*/ 5046028 h 6858000"/>
              <a:gd name="connsiteX483" fmla="*/ 5855592 w 9595474"/>
              <a:gd name="connsiteY483" fmla="*/ 5050155 h 6858000"/>
              <a:gd name="connsiteX484" fmla="*/ 5850567 w 9595474"/>
              <a:gd name="connsiteY484" fmla="*/ 5053648 h 6858000"/>
              <a:gd name="connsiteX485" fmla="*/ 5845247 w 9595474"/>
              <a:gd name="connsiteY485" fmla="*/ 5056823 h 6858000"/>
              <a:gd name="connsiteX486" fmla="*/ 5839926 w 9595474"/>
              <a:gd name="connsiteY486" fmla="*/ 5059680 h 6858000"/>
              <a:gd name="connsiteX487" fmla="*/ 5834311 w 9595474"/>
              <a:gd name="connsiteY487" fmla="*/ 5062538 h 6858000"/>
              <a:gd name="connsiteX488" fmla="*/ 5828695 w 9595474"/>
              <a:gd name="connsiteY488" fmla="*/ 5064760 h 6858000"/>
              <a:gd name="connsiteX489" fmla="*/ 5823375 w 9595474"/>
              <a:gd name="connsiteY489" fmla="*/ 5066983 h 6858000"/>
              <a:gd name="connsiteX490" fmla="*/ 5817463 w 9595474"/>
              <a:gd name="connsiteY490" fmla="*/ 5069205 h 6858000"/>
              <a:gd name="connsiteX491" fmla="*/ 5811552 w 9595474"/>
              <a:gd name="connsiteY491" fmla="*/ 5070475 h 6858000"/>
              <a:gd name="connsiteX492" fmla="*/ 5805640 w 9595474"/>
              <a:gd name="connsiteY492" fmla="*/ 5071428 h 6858000"/>
              <a:gd name="connsiteX493" fmla="*/ 5800024 w 9595474"/>
              <a:gd name="connsiteY493" fmla="*/ 5072698 h 6858000"/>
              <a:gd name="connsiteX494" fmla="*/ 5793817 w 9595474"/>
              <a:gd name="connsiteY494" fmla="*/ 5073333 h 6858000"/>
              <a:gd name="connsiteX495" fmla="*/ 5787610 w 9595474"/>
              <a:gd name="connsiteY495" fmla="*/ 5073650 h 6858000"/>
              <a:gd name="connsiteX496" fmla="*/ 5781994 w 9595474"/>
              <a:gd name="connsiteY496" fmla="*/ 5073968 h 6858000"/>
              <a:gd name="connsiteX497" fmla="*/ 5775787 w 9595474"/>
              <a:gd name="connsiteY497" fmla="*/ 5073650 h 6858000"/>
              <a:gd name="connsiteX498" fmla="*/ 5770171 w 9595474"/>
              <a:gd name="connsiteY498" fmla="*/ 5073333 h 6858000"/>
              <a:gd name="connsiteX499" fmla="*/ 5763965 w 9595474"/>
              <a:gd name="connsiteY499" fmla="*/ 5072698 h 6858000"/>
              <a:gd name="connsiteX500" fmla="*/ 5758349 w 9595474"/>
              <a:gd name="connsiteY500" fmla="*/ 5071428 h 6858000"/>
              <a:gd name="connsiteX501" fmla="*/ 5752141 w 9595474"/>
              <a:gd name="connsiteY501" fmla="*/ 5070475 h 6858000"/>
              <a:gd name="connsiteX502" fmla="*/ 5746526 w 9595474"/>
              <a:gd name="connsiteY502" fmla="*/ 5069205 h 6858000"/>
              <a:gd name="connsiteX503" fmla="*/ 5740614 w 9595474"/>
              <a:gd name="connsiteY503" fmla="*/ 5066983 h 6858000"/>
              <a:gd name="connsiteX504" fmla="*/ 5734998 w 9595474"/>
              <a:gd name="connsiteY504" fmla="*/ 5064760 h 6858000"/>
              <a:gd name="connsiteX505" fmla="*/ 5729382 w 9595474"/>
              <a:gd name="connsiteY505" fmla="*/ 5062538 h 6858000"/>
              <a:gd name="connsiteX506" fmla="*/ 5723767 w 9595474"/>
              <a:gd name="connsiteY506" fmla="*/ 5059680 h 6858000"/>
              <a:gd name="connsiteX507" fmla="*/ 5718446 w 9595474"/>
              <a:gd name="connsiteY507" fmla="*/ 5056823 h 6858000"/>
              <a:gd name="connsiteX508" fmla="*/ 5713421 w 9595474"/>
              <a:gd name="connsiteY508" fmla="*/ 5053648 h 6858000"/>
              <a:gd name="connsiteX509" fmla="*/ 5708396 w 9595474"/>
              <a:gd name="connsiteY509" fmla="*/ 5050155 h 6858000"/>
              <a:gd name="connsiteX510" fmla="*/ 5703372 w 9595474"/>
              <a:gd name="connsiteY510" fmla="*/ 5046028 h 6858000"/>
              <a:gd name="connsiteX511" fmla="*/ 5698347 w 9595474"/>
              <a:gd name="connsiteY511" fmla="*/ 5041900 h 6858000"/>
              <a:gd name="connsiteX512" fmla="*/ 5693618 w 9595474"/>
              <a:gd name="connsiteY512" fmla="*/ 5037455 h 6858000"/>
              <a:gd name="connsiteX513" fmla="*/ 5598148 w 9595474"/>
              <a:gd name="connsiteY513" fmla="*/ 4941888 h 6858000"/>
              <a:gd name="connsiteX514" fmla="*/ 5490560 w 9595474"/>
              <a:gd name="connsiteY514" fmla="*/ 4834573 h 6858000"/>
              <a:gd name="connsiteX515" fmla="*/ 5485830 w 9595474"/>
              <a:gd name="connsiteY515" fmla="*/ 4830128 h 6858000"/>
              <a:gd name="connsiteX516" fmla="*/ 5481397 w 9595474"/>
              <a:gd name="connsiteY516" fmla="*/ 4826000 h 6858000"/>
              <a:gd name="connsiteX517" fmla="*/ 5476372 w 9595474"/>
              <a:gd name="connsiteY517" fmla="*/ 4821873 h 6858000"/>
              <a:gd name="connsiteX518" fmla="*/ 5471348 w 9595474"/>
              <a:gd name="connsiteY518" fmla="*/ 4818380 h 6858000"/>
              <a:gd name="connsiteX519" fmla="*/ 5465732 w 9595474"/>
              <a:gd name="connsiteY519" fmla="*/ 4815205 h 6858000"/>
              <a:gd name="connsiteX520" fmla="*/ 5460411 w 9595474"/>
              <a:gd name="connsiteY520" fmla="*/ 4812348 h 6858000"/>
              <a:gd name="connsiteX521" fmla="*/ 5455091 w 9595474"/>
              <a:gd name="connsiteY521" fmla="*/ 4809173 h 6858000"/>
              <a:gd name="connsiteX522" fmla="*/ 5449475 w 9595474"/>
              <a:gd name="connsiteY522" fmla="*/ 4807268 h 6858000"/>
              <a:gd name="connsiteX523" fmla="*/ 5443563 w 9595474"/>
              <a:gd name="connsiteY523" fmla="*/ 4805045 h 6858000"/>
              <a:gd name="connsiteX524" fmla="*/ 5437948 w 9595474"/>
              <a:gd name="connsiteY524" fmla="*/ 4802823 h 6858000"/>
              <a:gd name="connsiteX525" fmla="*/ 5432036 w 9595474"/>
              <a:gd name="connsiteY525" fmla="*/ 4801553 h 6858000"/>
              <a:gd name="connsiteX526" fmla="*/ 5426420 w 9595474"/>
              <a:gd name="connsiteY526" fmla="*/ 4800283 h 6858000"/>
              <a:gd name="connsiteX527" fmla="*/ 5420509 w 9595474"/>
              <a:gd name="connsiteY527" fmla="*/ 4799330 h 6858000"/>
              <a:gd name="connsiteX528" fmla="*/ 5414597 w 9595474"/>
              <a:gd name="connsiteY528" fmla="*/ 4798695 h 6858000"/>
              <a:gd name="connsiteX529" fmla="*/ 5408391 w 9595474"/>
              <a:gd name="connsiteY529" fmla="*/ 4798060 h 6858000"/>
              <a:gd name="connsiteX530" fmla="*/ 5402775 w 9595474"/>
              <a:gd name="connsiteY530" fmla="*/ 4797743 h 6858000"/>
              <a:gd name="connsiteX531" fmla="*/ 5396568 w 9595474"/>
              <a:gd name="connsiteY531" fmla="*/ 4798060 h 6858000"/>
              <a:gd name="connsiteX532" fmla="*/ 5390361 w 9595474"/>
              <a:gd name="connsiteY532" fmla="*/ 4798695 h 6858000"/>
              <a:gd name="connsiteX533" fmla="*/ 5384745 w 9595474"/>
              <a:gd name="connsiteY533" fmla="*/ 4799330 h 6858000"/>
              <a:gd name="connsiteX534" fmla="*/ 5378538 w 9595474"/>
              <a:gd name="connsiteY534" fmla="*/ 4800283 h 6858000"/>
              <a:gd name="connsiteX535" fmla="*/ 5372922 w 9595474"/>
              <a:gd name="connsiteY535" fmla="*/ 4801553 h 6858000"/>
              <a:gd name="connsiteX536" fmla="*/ 5367010 w 9595474"/>
              <a:gd name="connsiteY536" fmla="*/ 4802823 h 6858000"/>
              <a:gd name="connsiteX537" fmla="*/ 5361394 w 9595474"/>
              <a:gd name="connsiteY537" fmla="*/ 4805045 h 6858000"/>
              <a:gd name="connsiteX538" fmla="*/ 5355483 w 9595474"/>
              <a:gd name="connsiteY538" fmla="*/ 4807268 h 6858000"/>
              <a:gd name="connsiteX539" fmla="*/ 5350163 w 9595474"/>
              <a:gd name="connsiteY539" fmla="*/ 4809173 h 6858000"/>
              <a:gd name="connsiteX540" fmla="*/ 5344547 w 9595474"/>
              <a:gd name="connsiteY540" fmla="*/ 4812348 h 6858000"/>
              <a:gd name="connsiteX541" fmla="*/ 5338931 w 9595474"/>
              <a:gd name="connsiteY541" fmla="*/ 4815205 h 6858000"/>
              <a:gd name="connsiteX542" fmla="*/ 5333906 w 9595474"/>
              <a:gd name="connsiteY542" fmla="*/ 4818380 h 6858000"/>
              <a:gd name="connsiteX543" fmla="*/ 5328881 w 9595474"/>
              <a:gd name="connsiteY543" fmla="*/ 4821873 h 6858000"/>
              <a:gd name="connsiteX544" fmla="*/ 5323857 w 9595474"/>
              <a:gd name="connsiteY544" fmla="*/ 4826000 h 6858000"/>
              <a:gd name="connsiteX545" fmla="*/ 5318832 w 9595474"/>
              <a:gd name="connsiteY545" fmla="*/ 4830128 h 6858000"/>
              <a:gd name="connsiteX546" fmla="*/ 5314398 w 9595474"/>
              <a:gd name="connsiteY546" fmla="*/ 4834573 h 6858000"/>
              <a:gd name="connsiteX547" fmla="*/ 5307305 w 9595474"/>
              <a:gd name="connsiteY547" fmla="*/ 4841875 h 6858000"/>
              <a:gd name="connsiteX548" fmla="*/ 5301393 w 9595474"/>
              <a:gd name="connsiteY548" fmla="*/ 4849813 h 6858000"/>
              <a:gd name="connsiteX549" fmla="*/ 5295482 w 9595474"/>
              <a:gd name="connsiteY549" fmla="*/ 4858068 h 6858000"/>
              <a:gd name="connsiteX550" fmla="*/ 5291048 w 9595474"/>
              <a:gd name="connsiteY550" fmla="*/ 4867275 h 6858000"/>
              <a:gd name="connsiteX551" fmla="*/ 5286910 w 9595474"/>
              <a:gd name="connsiteY551" fmla="*/ 4875848 h 6858000"/>
              <a:gd name="connsiteX552" fmla="*/ 5283659 w 9595474"/>
              <a:gd name="connsiteY552" fmla="*/ 4885055 h 6858000"/>
              <a:gd name="connsiteX553" fmla="*/ 5281294 w 9595474"/>
              <a:gd name="connsiteY553" fmla="*/ 4894580 h 6858000"/>
              <a:gd name="connsiteX554" fmla="*/ 5279521 w 9595474"/>
              <a:gd name="connsiteY554" fmla="*/ 4903788 h 6858000"/>
              <a:gd name="connsiteX555" fmla="*/ 5278339 w 9595474"/>
              <a:gd name="connsiteY555" fmla="*/ 4913630 h 6858000"/>
              <a:gd name="connsiteX556" fmla="*/ 5278339 w 9595474"/>
              <a:gd name="connsiteY556" fmla="*/ 4923155 h 6858000"/>
              <a:gd name="connsiteX557" fmla="*/ 5278634 w 9595474"/>
              <a:gd name="connsiteY557" fmla="*/ 4932998 h 6858000"/>
              <a:gd name="connsiteX558" fmla="*/ 5279816 w 9595474"/>
              <a:gd name="connsiteY558" fmla="*/ 4942205 h 6858000"/>
              <a:gd name="connsiteX559" fmla="*/ 5281885 w 9595474"/>
              <a:gd name="connsiteY559" fmla="*/ 4952048 h 6858000"/>
              <a:gd name="connsiteX560" fmla="*/ 5284546 w 9595474"/>
              <a:gd name="connsiteY560" fmla="*/ 4960938 h 6858000"/>
              <a:gd name="connsiteX561" fmla="*/ 5288092 w 9595474"/>
              <a:gd name="connsiteY561" fmla="*/ 4970145 h 6858000"/>
              <a:gd name="connsiteX562" fmla="*/ 5291935 w 9595474"/>
              <a:gd name="connsiteY562" fmla="*/ 4979353 h 6858000"/>
              <a:gd name="connsiteX563" fmla="*/ 5583665 w 9595474"/>
              <a:gd name="connsiteY563" fmla="*/ 5270500 h 6858000"/>
              <a:gd name="connsiteX564" fmla="*/ 5588098 w 9595474"/>
              <a:gd name="connsiteY564" fmla="*/ 5275263 h 6858000"/>
              <a:gd name="connsiteX565" fmla="*/ 5592237 w 9595474"/>
              <a:gd name="connsiteY565" fmla="*/ 5280343 h 6858000"/>
              <a:gd name="connsiteX566" fmla="*/ 5595784 w 9595474"/>
              <a:gd name="connsiteY566" fmla="*/ 5284788 h 6858000"/>
              <a:gd name="connsiteX567" fmla="*/ 5599626 w 9595474"/>
              <a:gd name="connsiteY567" fmla="*/ 5290185 h 6858000"/>
              <a:gd name="connsiteX568" fmla="*/ 5602582 w 9595474"/>
              <a:gd name="connsiteY568" fmla="*/ 5295265 h 6858000"/>
              <a:gd name="connsiteX569" fmla="*/ 5605833 w 9595474"/>
              <a:gd name="connsiteY569" fmla="*/ 5300663 h 6858000"/>
              <a:gd name="connsiteX570" fmla="*/ 5608493 w 9595474"/>
              <a:gd name="connsiteY570" fmla="*/ 5306060 h 6858000"/>
              <a:gd name="connsiteX571" fmla="*/ 5610857 w 9595474"/>
              <a:gd name="connsiteY571" fmla="*/ 5311775 h 6858000"/>
              <a:gd name="connsiteX572" fmla="*/ 5613222 w 9595474"/>
              <a:gd name="connsiteY572" fmla="*/ 5317490 h 6858000"/>
              <a:gd name="connsiteX573" fmla="*/ 5614996 w 9595474"/>
              <a:gd name="connsiteY573" fmla="*/ 5323523 h 6858000"/>
              <a:gd name="connsiteX574" fmla="*/ 5616474 w 9595474"/>
              <a:gd name="connsiteY574" fmla="*/ 5329238 h 6858000"/>
              <a:gd name="connsiteX575" fmla="*/ 5617656 w 9595474"/>
              <a:gd name="connsiteY575" fmla="*/ 5334953 h 6858000"/>
              <a:gd name="connsiteX576" fmla="*/ 5618838 w 9595474"/>
              <a:gd name="connsiteY576" fmla="*/ 5340985 h 6858000"/>
              <a:gd name="connsiteX577" fmla="*/ 5619725 w 9595474"/>
              <a:gd name="connsiteY577" fmla="*/ 5346700 h 6858000"/>
              <a:gd name="connsiteX578" fmla="*/ 5620021 w 9595474"/>
              <a:gd name="connsiteY578" fmla="*/ 5352733 h 6858000"/>
              <a:gd name="connsiteX579" fmla="*/ 5620021 w 9595474"/>
              <a:gd name="connsiteY579" fmla="*/ 5359083 h 6858000"/>
              <a:gd name="connsiteX580" fmla="*/ 5620021 w 9595474"/>
              <a:gd name="connsiteY580" fmla="*/ 5364798 h 6858000"/>
              <a:gd name="connsiteX581" fmla="*/ 5619725 w 9595474"/>
              <a:gd name="connsiteY581" fmla="*/ 5370830 h 6858000"/>
              <a:gd name="connsiteX582" fmla="*/ 5618838 w 9595474"/>
              <a:gd name="connsiteY582" fmla="*/ 5376545 h 6858000"/>
              <a:gd name="connsiteX583" fmla="*/ 5617656 w 9595474"/>
              <a:gd name="connsiteY583" fmla="*/ 5382578 h 6858000"/>
              <a:gd name="connsiteX584" fmla="*/ 5616474 w 9595474"/>
              <a:gd name="connsiteY584" fmla="*/ 5388293 h 6858000"/>
              <a:gd name="connsiteX585" fmla="*/ 5614996 w 9595474"/>
              <a:gd name="connsiteY585" fmla="*/ 5394008 h 6858000"/>
              <a:gd name="connsiteX586" fmla="*/ 5613222 w 9595474"/>
              <a:gd name="connsiteY586" fmla="*/ 5400040 h 6858000"/>
              <a:gd name="connsiteX587" fmla="*/ 5610857 w 9595474"/>
              <a:gd name="connsiteY587" fmla="*/ 5405755 h 6858000"/>
              <a:gd name="connsiteX588" fmla="*/ 5608493 w 9595474"/>
              <a:gd name="connsiteY588" fmla="*/ 5411470 h 6858000"/>
              <a:gd name="connsiteX589" fmla="*/ 5605833 w 9595474"/>
              <a:gd name="connsiteY589" fmla="*/ 5416868 h 6858000"/>
              <a:gd name="connsiteX590" fmla="*/ 5602582 w 9595474"/>
              <a:gd name="connsiteY590" fmla="*/ 5422265 h 6858000"/>
              <a:gd name="connsiteX591" fmla="*/ 5599626 w 9595474"/>
              <a:gd name="connsiteY591" fmla="*/ 5427663 h 6858000"/>
              <a:gd name="connsiteX592" fmla="*/ 5595784 w 9595474"/>
              <a:gd name="connsiteY592" fmla="*/ 5432743 h 6858000"/>
              <a:gd name="connsiteX593" fmla="*/ 5592237 w 9595474"/>
              <a:gd name="connsiteY593" fmla="*/ 5437505 h 6858000"/>
              <a:gd name="connsiteX594" fmla="*/ 5588098 w 9595474"/>
              <a:gd name="connsiteY594" fmla="*/ 5442268 h 6858000"/>
              <a:gd name="connsiteX595" fmla="*/ 5583665 w 9595474"/>
              <a:gd name="connsiteY595" fmla="*/ 5447030 h 6858000"/>
              <a:gd name="connsiteX596" fmla="*/ 5578936 w 9595474"/>
              <a:gd name="connsiteY596" fmla="*/ 5451158 h 6858000"/>
              <a:gd name="connsiteX597" fmla="*/ 5573911 w 9595474"/>
              <a:gd name="connsiteY597" fmla="*/ 5455603 h 6858000"/>
              <a:gd name="connsiteX598" fmla="*/ 5569182 w 9595474"/>
              <a:gd name="connsiteY598" fmla="*/ 5459095 h 6858000"/>
              <a:gd name="connsiteX599" fmla="*/ 5563862 w 9595474"/>
              <a:gd name="connsiteY599" fmla="*/ 5462905 h 6858000"/>
              <a:gd name="connsiteX600" fmla="*/ 5558837 w 9595474"/>
              <a:gd name="connsiteY600" fmla="*/ 5466080 h 6858000"/>
              <a:gd name="connsiteX601" fmla="*/ 5553517 w 9595474"/>
              <a:gd name="connsiteY601" fmla="*/ 5469255 h 6858000"/>
              <a:gd name="connsiteX602" fmla="*/ 5548196 w 9595474"/>
              <a:gd name="connsiteY602" fmla="*/ 5471795 h 6858000"/>
              <a:gd name="connsiteX603" fmla="*/ 5542285 w 9595474"/>
              <a:gd name="connsiteY603" fmla="*/ 5474335 h 6858000"/>
              <a:gd name="connsiteX604" fmla="*/ 5536964 w 9595474"/>
              <a:gd name="connsiteY604" fmla="*/ 5476558 h 6858000"/>
              <a:gd name="connsiteX605" fmla="*/ 5531348 w 9595474"/>
              <a:gd name="connsiteY605" fmla="*/ 5478145 h 6858000"/>
              <a:gd name="connsiteX606" fmla="*/ 5525437 w 9595474"/>
              <a:gd name="connsiteY606" fmla="*/ 5479733 h 6858000"/>
              <a:gd name="connsiteX607" fmla="*/ 5519230 w 9595474"/>
              <a:gd name="connsiteY607" fmla="*/ 5481003 h 6858000"/>
              <a:gd name="connsiteX608" fmla="*/ 5513614 w 9595474"/>
              <a:gd name="connsiteY608" fmla="*/ 5482273 h 6858000"/>
              <a:gd name="connsiteX609" fmla="*/ 5507999 w 9595474"/>
              <a:gd name="connsiteY609" fmla="*/ 5482908 h 6858000"/>
              <a:gd name="connsiteX610" fmla="*/ 5501791 w 9595474"/>
              <a:gd name="connsiteY610" fmla="*/ 5483225 h 6858000"/>
              <a:gd name="connsiteX611" fmla="*/ 5495585 w 9595474"/>
              <a:gd name="connsiteY611" fmla="*/ 5483543 h 6858000"/>
              <a:gd name="connsiteX612" fmla="*/ 6873545 w 9595474"/>
              <a:gd name="connsiteY612" fmla="*/ 6858000 h 6858000"/>
              <a:gd name="connsiteX613" fmla="*/ 9595474 w 9595474"/>
              <a:gd name="connsiteY613" fmla="*/ 6858000 h 6858000"/>
              <a:gd name="connsiteX614" fmla="*/ 9595474 w 9595474"/>
              <a:gd name="connsiteY614" fmla="*/ 0 h 6858000"/>
              <a:gd name="connsiteX0" fmla="*/ 9595474 w 9595474"/>
              <a:gd name="connsiteY0" fmla="*/ 0 h 6858000"/>
              <a:gd name="connsiteX1" fmla="*/ 2914643 w 9595474"/>
              <a:gd name="connsiteY1" fmla="*/ 0 h 6858000"/>
              <a:gd name="connsiteX2" fmla="*/ 0 w 9595474"/>
              <a:gd name="connsiteY2" fmla="*/ 0 h 6858000"/>
              <a:gd name="connsiteX3" fmla="*/ 692823 w 9595474"/>
              <a:gd name="connsiteY3" fmla="*/ 691198 h 6858000"/>
              <a:gd name="connsiteX4" fmla="*/ 691345 w 9595474"/>
              <a:gd name="connsiteY4" fmla="*/ 683895 h 6858000"/>
              <a:gd name="connsiteX5" fmla="*/ 690754 w 9595474"/>
              <a:gd name="connsiteY5" fmla="*/ 676275 h 6858000"/>
              <a:gd name="connsiteX6" fmla="*/ 690754 w 9595474"/>
              <a:gd name="connsiteY6" fmla="*/ 669290 h 6858000"/>
              <a:gd name="connsiteX7" fmla="*/ 690754 w 9595474"/>
              <a:gd name="connsiteY7" fmla="*/ 661988 h 6858000"/>
              <a:gd name="connsiteX8" fmla="*/ 691345 w 9595474"/>
              <a:gd name="connsiteY8" fmla="*/ 654368 h 6858000"/>
              <a:gd name="connsiteX9" fmla="*/ 692527 w 9595474"/>
              <a:gd name="connsiteY9" fmla="*/ 647383 h 6858000"/>
              <a:gd name="connsiteX10" fmla="*/ 694005 w 9595474"/>
              <a:gd name="connsiteY10" fmla="*/ 640080 h 6858000"/>
              <a:gd name="connsiteX11" fmla="*/ 695778 w 9595474"/>
              <a:gd name="connsiteY11" fmla="*/ 633095 h 6858000"/>
              <a:gd name="connsiteX12" fmla="*/ 698143 w 9595474"/>
              <a:gd name="connsiteY12" fmla="*/ 625793 h 6858000"/>
              <a:gd name="connsiteX13" fmla="*/ 700803 w 9595474"/>
              <a:gd name="connsiteY13" fmla="*/ 618808 h 6858000"/>
              <a:gd name="connsiteX14" fmla="*/ 704054 w 9595474"/>
              <a:gd name="connsiteY14" fmla="*/ 612140 h 6858000"/>
              <a:gd name="connsiteX15" fmla="*/ 707601 w 9595474"/>
              <a:gd name="connsiteY15" fmla="*/ 605790 h 6858000"/>
              <a:gd name="connsiteX16" fmla="*/ 712035 w 9595474"/>
              <a:gd name="connsiteY16" fmla="*/ 599123 h 6858000"/>
              <a:gd name="connsiteX17" fmla="*/ 716173 w 9595474"/>
              <a:gd name="connsiteY17" fmla="*/ 592773 h 6858000"/>
              <a:gd name="connsiteX18" fmla="*/ 721198 w 9595474"/>
              <a:gd name="connsiteY18" fmla="*/ 587058 h 6858000"/>
              <a:gd name="connsiteX19" fmla="*/ 726518 w 9595474"/>
              <a:gd name="connsiteY19" fmla="*/ 581343 h 6858000"/>
              <a:gd name="connsiteX20" fmla="*/ 731247 w 9595474"/>
              <a:gd name="connsiteY20" fmla="*/ 576898 h 6858000"/>
              <a:gd name="connsiteX21" fmla="*/ 735976 w 9595474"/>
              <a:gd name="connsiteY21" fmla="*/ 572453 h 6858000"/>
              <a:gd name="connsiteX22" fmla="*/ 741001 w 9595474"/>
              <a:gd name="connsiteY22" fmla="*/ 568960 h 6858000"/>
              <a:gd name="connsiteX23" fmla="*/ 746026 w 9595474"/>
              <a:gd name="connsiteY23" fmla="*/ 565468 h 6858000"/>
              <a:gd name="connsiteX24" fmla="*/ 751050 w 9595474"/>
              <a:gd name="connsiteY24" fmla="*/ 562293 h 6858000"/>
              <a:gd name="connsiteX25" fmla="*/ 756371 w 9595474"/>
              <a:gd name="connsiteY25" fmla="*/ 558800 h 6858000"/>
              <a:gd name="connsiteX26" fmla="*/ 761691 w 9595474"/>
              <a:gd name="connsiteY26" fmla="*/ 556578 h 6858000"/>
              <a:gd name="connsiteX27" fmla="*/ 767602 w 9595474"/>
              <a:gd name="connsiteY27" fmla="*/ 554038 h 6858000"/>
              <a:gd name="connsiteX28" fmla="*/ 772923 w 9595474"/>
              <a:gd name="connsiteY28" fmla="*/ 551815 h 6858000"/>
              <a:gd name="connsiteX29" fmla="*/ 778834 w 9595474"/>
              <a:gd name="connsiteY29" fmla="*/ 549910 h 6858000"/>
              <a:gd name="connsiteX30" fmla="*/ 784450 w 9595474"/>
              <a:gd name="connsiteY30" fmla="*/ 548640 h 6858000"/>
              <a:gd name="connsiteX31" fmla="*/ 790066 w 9595474"/>
              <a:gd name="connsiteY31" fmla="*/ 547370 h 6858000"/>
              <a:gd name="connsiteX32" fmla="*/ 795977 w 9595474"/>
              <a:gd name="connsiteY32" fmla="*/ 546418 h 6858000"/>
              <a:gd name="connsiteX33" fmla="*/ 802184 w 9595474"/>
              <a:gd name="connsiteY33" fmla="*/ 545783 h 6858000"/>
              <a:gd name="connsiteX34" fmla="*/ 807800 w 9595474"/>
              <a:gd name="connsiteY34" fmla="*/ 545465 h 6858000"/>
              <a:gd name="connsiteX35" fmla="*/ 814007 w 9595474"/>
              <a:gd name="connsiteY35" fmla="*/ 544830 h 6858000"/>
              <a:gd name="connsiteX36" fmla="*/ 819623 w 9595474"/>
              <a:gd name="connsiteY36" fmla="*/ 545465 h 6858000"/>
              <a:gd name="connsiteX37" fmla="*/ 825830 w 9595474"/>
              <a:gd name="connsiteY37" fmla="*/ 545783 h 6858000"/>
              <a:gd name="connsiteX38" fmla="*/ 831446 w 9595474"/>
              <a:gd name="connsiteY38" fmla="*/ 546418 h 6858000"/>
              <a:gd name="connsiteX39" fmla="*/ 837358 w 9595474"/>
              <a:gd name="connsiteY39" fmla="*/ 547370 h 6858000"/>
              <a:gd name="connsiteX40" fmla="*/ 842974 w 9595474"/>
              <a:gd name="connsiteY40" fmla="*/ 548640 h 6858000"/>
              <a:gd name="connsiteX41" fmla="*/ 848885 w 9595474"/>
              <a:gd name="connsiteY41" fmla="*/ 549910 h 6858000"/>
              <a:gd name="connsiteX42" fmla="*/ 854501 w 9595474"/>
              <a:gd name="connsiteY42" fmla="*/ 551815 h 6858000"/>
              <a:gd name="connsiteX43" fmla="*/ 860117 w 9595474"/>
              <a:gd name="connsiteY43" fmla="*/ 554038 h 6858000"/>
              <a:gd name="connsiteX44" fmla="*/ 865733 w 9595474"/>
              <a:gd name="connsiteY44" fmla="*/ 556578 h 6858000"/>
              <a:gd name="connsiteX45" fmla="*/ 871053 w 9595474"/>
              <a:gd name="connsiteY45" fmla="*/ 558800 h 6858000"/>
              <a:gd name="connsiteX46" fmla="*/ 876373 w 9595474"/>
              <a:gd name="connsiteY46" fmla="*/ 562293 h 6858000"/>
              <a:gd name="connsiteX47" fmla="*/ 881398 w 9595474"/>
              <a:gd name="connsiteY47" fmla="*/ 565468 h 6858000"/>
              <a:gd name="connsiteX48" fmla="*/ 886718 w 9595474"/>
              <a:gd name="connsiteY48" fmla="*/ 568960 h 6858000"/>
              <a:gd name="connsiteX49" fmla="*/ 891447 w 9595474"/>
              <a:gd name="connsiteY49" fmla="*/ 572453 h 6858000"/>
              <a:gd name="connsiteX50" fmla="*/ 896177 w 9595474"/>
              <a:gd name="connsiteY50" fmla="*/ 576898 h 6858000"/>
              <a:gd name="connsiteX51" fmla="*/ 900906 w 9595474"/>
              <a:gd name="connsiteY51" fmla="*/ 581343 h 6858000"/>
              <a:gd name="connsiteX52" fmla="*/ 1431459 w 9595474"/>
              <a:gd name="connsiteY52" fmla="*/ 1111568 h 6858000"/>
              <a:gd name="connsiteX53" fmla="*/ 2394731 w 9595474"/>
              <a:gd name="connsiteY53" fmla="*/ 2074863 h 6858000"/>
              <a:gd name="connsiteX54" fmla="*/ 2399164 w 9595474"/>
              <a:gd name="connsiteY54" fmla="*/ 2079308 h 6858000"/>
              <a:gd name="connsiteX55" fmla="*/ 2404189 w 9595474"/>
              <a:gd name="connsiteY55" fmla="*/ 2083435 h 6858000"/>
              <a:gd name="connsiteX56" fmla="*/ 2408918 w 9595474"/>
              <a:gd name="connsiteY56" fmla="*/ 2087245 h 6858000"/>
              <a:gd name="connsiteX57" fmla="*/ 2413943 w 9595474"/>
              <a:gd name="connsiteY57" fmla="*/ 2090738 h 6858000"/>
              <a:gd name="connsiteX58" fmla="*/ 2419263 w 9595474"/>
              <a:gd name="connsiteY58" fmla="*/ 2093913 h 6858000"/>
              <a:gd name="connsiteX59" fmla="*/ 2424583 w 9595474"/>
              <a:gd name="connsiteY59" fmla="*/ 2096770 h 6858000"/>
              <a:gd name="connsiteX60" fmla="*/ 2430199 w 9595474"/>
              <a:gd name="connsiteY60" fmla="*/ 2099628 h 6858000"/>
              <a:gd name="connsiteX61" fmla="*/ 2435520 w 9595474"/>
              <a:gd name="connsiteY61" fmla="*/ 2101850 h 6858000"/>
              <a:gd name="connsiteX62" fmla="*/ 2441136 w 9595474"/>
              <a:gd name="connsiteY62" fmla="*/ 2104073 h 6858000"/>
              <a:gd name="connsiteX63" fmla="*/ 2447047 w 9595474"/>
              <a:gd name="connsiteY63" fmla="*/ 2105660 h 6858000"/>
              <a:gd name="connsiteX64" fmla="*/ 2452663 w 9595474"/>
              <a:gd name="connsiteY64" fmla="*/ 2107565 h 6858000"/>
              <a:gd name="connsiteX65" fmla="*/ 2458574 w 9595474"/>
              <a:gd name="connsiteY65" fmla="*/ 2108518 h 6858000"/>
              <a:gd name="connsiteX66" fmla="*/ 2464190 w 9595474"/>
              <a:gd name="connsiteY66" fmla="*/ 2109788 h 6858000"/>
              <a:gd name="connsiteX67" fmla="*/ 2469806 w 9595474"/>
              <a:gd name="connsiteY67" fmla="*/ 2110423 h 6858000"/>
              <a:gd name="connsiteX68" fmla="*/ 2476013 w 9595474"/>
              <a:gd name="connsiteY68" fmla="*/ 2110740 h 6858000"/>
              <a:gd name="connsiteX69" fmla="*/ 2481925 w 9595474"/>
              <a:gd name="connsiteY69" fmla="*/ 2111058 h 6858000"/>
              <a:gd name="connsiteX70" fmla="*/ 2487836 w 9595474"/>
              <a:gd name="connsiteY70" fmla="*/ 2110740 h 6858000"/>
              <a:gd name="connsiteX71" fmla="*/ 2493747 w 9595474"/>
              <a:gd name="connsiteY71" fmla="*/ 2110423 h 6858000"/>
              <a:gd name="connsiteX72" fmla="*/ 2499363 w 9595474"/>
              <a:gd name="connsiteY72" fmla="*/ 2109788 h 6858000"/>
              <a:gd name="connsiteX73" fmla="*/ 2505570 w 9595474"/>
              <a:gd name="connsiteY73" fmla="*/ 2108518 h 6858000"/>
              <a:gd name="connsiteX74" fmla="*/ 2511186 w 9595474"/>
              <a:gd name="connsiteY74" fmla="*/ 2107565 h 6858000"/>
              <a:gd name="connsiteX75" fmla="*/ 2517098 w 9595474"/>
              <a:gd name="connsiteY75" fmla="*/ 2105660 h 6858000"/>
              <a:gd name="connsiteX76" fmla="*/ 2522714 w 9595474"/>
              <a:gd name="connsiteY76" fmla="*/ 2104073 h 6858000"/>
              <a:gd name="connsiteX77" fmla="*/ 2528034 w 9595474"/>
              <a:gd name="connsiteY77" fmla="*/ 2101850 h 6858000"/>
              <a:gd name="connsiteX78" fmla="*/ 2533945 w 9595474"/>
              <a:gd name="connsiteY78" fmla="*/ 2099628 h 6858000"/>
              <a:gd name="connsiteX79" fmla="*/ 2539266 w 9595474"/>
              <a:gd name="connsiteY79" fmla="*/ 2096770 h 6858000"/>
              <a:gd name="connsiteX80" fmla="*/ 2544290 w 9595474"/>
              <a:gd name="connsiteY80" fmla="*/ 2093913 h 6858000"/>
              <a:gd name="connsiteX81" fmla="*/ 2549611 w 9595474"/>
              <a:gd name="connsiteY81" fmla="*/ 2090738 h 6858000"/>
              <a:gd name="connsiteX82" fmla="*/ 2554635 w 9595474"/>
              <a:gd name="connsiteY82" fmla="*/ 2087245 h 6858000"/>
              <a:gd name="connsiteX83" fmla="*/ 2559660 w 9595474"/>
              <a:gd name="connsiteY83" fmla="*/ 2083435 h 6858000"/>
              <a:gd name="connsiteX84" fmla="*/ 2564389 w 9595474"/>
              <a:gd name="connsiteY84" fmla="*/ 2079308 h 6858000"/>
              <a:gd name="connsiteX85" fmla="*/ 2569119 w 9595474"/>
              <a:gd name="connsiteY85" fmla="*/ 2074863 h 6858000"/>
              <a:gd name="connsiteX86" fmla="*/ 2573257 w 9595474"/>
              <a:gd name="connsiteY86" fmla="*/ 2070100 h 6858000"/>
              <a:gd name="connsiteX87" fmla="*/ 2577395 w 9595474"/>
              <a:gd name="connsiteY87" fmla="*/ 2065655 h 6858000"/>
              <a:gd name="connsiteX88" fmla="*/ 2581237 w 9595474"/>
              <a:gd name="connsiteY88" fmla="*/ 2060575 h 6858000"/>
              <a:gd name="connsiteX89" fmla="*/ 2584784 w 9595474"/>
              <a:gd name="connsiteY89" fmla="*/ 2055495 h 6858000"/>
              <a:gd name="connsiteX90" fmla="*/ 2588035 w 9595474"/>
              <a:gd name="connsiteY90" fmla="*/ 2050415 h 6858000"/>
              <a:gd name="connsiteX91" fmla="*/ 2590991 w 9595474"/>
              <a:gd name="connsiteY91" fmla="*/ 2045018 h 6858000"/>
              <a:gd name="connsiteX92" fmla="*/ 2593651 w 9595474"/>
              <a:gd name="connsiteY92" fmla="*/ 2039620 h 6858000"/>
              <a:gd name="connsiteX93" fmla="*/ 2596016 w 9595474"/>
              <a:gd name="connsiteY93" fmla="*/ 2034223 h 6858000"/>
              <a:gd name="connsiteX94" fmla="*/ 2598085 w 9595474"/>
              <a:gd name="connsiteY94" fmla="*/ 2028508 h 6858000"/>
              <a:gd name="connsiteX95" fmla="*/ 2599858 w 9595474"/>
              <a:gd name="connsiteY95" fmla="*/ 2022793 h 6858000"/>
              <a:gd name="connsiteX96" fmla="*/ 2601336 w 9595474"/>
              <a:gd name="connsiteY96" fmla="*/ 2017078 h 6858000"/>
              <a:gd name="connsiteX97" fmla="*/ 2602814 w 9595474"/>
              <a:gd name="connsiteY97" fmla="*/ 2011363 h 6858000"/>
              <a:gd name="connsiteX98" fmla="*/ 2603996 w 9595474"/>
              <a:gd name="connsiteY98" fmla="*/ 2005648 h 6858000"/>
              <a:gd name="connsiteX99" fmla="*/ 2604587 w 9595474"/>
              <a:gd name="connsiteY99" fmla="*/ 1999615 h 6858000"/>
              <a:gd name="connsiteX100" fmla="*/ 2604883 w 9595474"/>
              <a:gd name="connsiteY100" fmla="*/ 1993583 h 6858000"/>
              <a:gd name="connsiteX101" fmla="*/ 2604883 w 9595474"/>
              <a:gd name="connsiteY101" fmla="*/ 1987550 h 6858000"/>
              <a:gd name="connsiteX102" fmla="*/ 2604883 w 9595474"/>
              <a:gd name="connsiteY102" fmla="*/ 1981835 h 6858000"/>
              <a:gd name="connsiteX103" fmla="*/ 2604587 w 9595474"/>
              <a:gd name="connsiteY103" fmla="*/ 1976120 h 6858000"/>
              <a:gd name="connsiteX104" fmla="*/ 2603996 w 9595474"/>
              <a:gd name="connsiteY104" fmla="*/ 1970088 h 6858000"/>
              <a:gd name="connsiteX105" fmla="*/ 2602814 w 9595474"/>
              <a:gd name="connsiteY105" fmla="*/ 1964373 h 6858000"/>
              <a:gd name="connsiteX106" fmla="*/ 2601336 w 9595474"/>
              <a:gd name="connsiteY106" fmla="*/ 1958658 h 6858000"/>
              <a:gd name="connsiteX107" fmla="*/ 2599858 w 9595474"/>
              <a:gd name="connsiteY107" fmla="*/ 1952625 h 6858000"/>
              <a:gd name="connsiteX108" fmla="*/ 2598085 w 9595474"/>
              <a:gd name="connsiteY108" fmla="*/ 1946910 h 6858000"/>
              <a:gd name="connsiteX109" fmla="*/ 2596016 w 9595474"/>
              <a:gd name="connsiteY109" fmla="*/ 1941195 h 6858000"/>
              <a:gd name="connsiteX110" fmla="*/ 2593651 w 9595474"/>
              <a:gd name="connsiteY110" fmla="*/ 1935798 h 6858000"/>
              <a:gd name="connsiteX111" fmla="*/ 2590991 w 9595474"/>
              <a:gd name="connsiteY111" fmla="*/ 1930400 h 6858000"/>
              <a:gd name="connsiteX112" fmla="*/ 2588035 w 9595474"/>
              <a:gd name="connsiteY112" fmla="*/ 1925003 h 6858000"/>
              <a:gd name="connsiteX113" fmla="*/ 2584784 w 9595474"/>
              <a:gd name="connsiteY113" fmla="*/ 1919923 h 6858000"/>
              <a:gd name="connsiteX114" fmla="*/ 2581237 w 9595474"/>
              <a:gd name="connsiteY114" fmla="*/ 1915160 h 6858000"/>
              <a:gd name="connsiteX115" fmla="*/ 2577395 w 9595474"/>
              <a:gd name="connsiteY115" fmla="*/ 1910080 h 6858000"/>
              <a:gd name="connsiteX116" fmla="*/ 2573257 w 9595474"/>
              <a:gd name="connsiteY116" fmla="*/ 1905318 h 6858000"/>
              <a:gd name="connsiteX117" fmla="*/ 2569119 w 9595474"/>
              <a:gd name="connsiteY117" fmla="*/ 1900555 h 6858000"/>
              <a:gd name="connsiteX118" fmla="*/ 1590477 w 9595474"/>
              <a:gd name="connsiteY118" fmla="*/ 922020 h 6858000"/>
              <a:gd name="connsiteX119" fmla="*/ 1272736 w 9595474"/>
              <a:gd name="connsiteY119" fmla="*/ 604203 h 6858000"/>
              <a:gd name="connsiteX120" fmla="*/ 1268303 w 9595474"/>
              <a:gd name="connsiteY120" fmla="*/ 599440 h 6858000"/>
              <a:gd name="connsiteX121" fmla="*/ 1264165 w 9595474"/>
              <a:gd name="connsiteY121" fmla="*/ 594995 h 6858000"/>
              <a:gd name="connsiteX122" fmla="*/ 1260322 w 9595474"/>
              <a:gd name="connsiteY122" fmla="*/ 589915 h 6858000"/>
              <a:gd name="connsiteX123" fmla="*/ 1256776 w 9595474"/>
              <a:gd name="connsiteY123" fmla="*/ 584835 h 6858000"/>
              <a:gd name="connsiteX124" fmla="*/ 1253524 w 9595474"/>
              <a:gd name="connsiteY124" fmla="*/ 579755 h 6858000"/>
              <a:gd name="connsiteX125" fmla="*/ 1250864 w 9595474"/>
              <a:gd name="connsiteY125" fmla="*/ 574358 h 6858000"/>
              <a:gd name="connsiteX126" fmla="*/ 1247908 w 9595474"/>
              <a:gd name="connsiteY126" fmla="*/ 568960 h 6858000"/>
              <a:gd name="connsiteX127" fmla="*/ 1245839 w 9595474"/>
              <a:gd name="connsiteY127" fmla="*/ 563563 h 6858000"/>
              <a:gd name="connsiteX128" fmla="*/ 1243475 w 9595474"/>
              <a:gd name="connsiteY128" fmla="*/ 557848 h 6858000"/>
              <a:gd name="connsiteX129" fmla="*/ 1241701 w 9595474"/>
              <a:gd name="connsiteY129" fmla="*/ 552133 h 6858000"/>
              <a:gd name="connsiteX130" fmla="*/ 1239928 w 9595474"/>
              <a:gd name="connsiteY130" fmla="*/ 546418 h 6858000"/>
              <a:gd name="connsiteX131" fmla="*/ 1238746 w 9595474"/>
              <a:gd name="connsiteY131" fmla="*/ 540703 h 6858000"/>
              <a:gd name="connsiteX132" fmla="*/ 1237859 w 9595474"/>
              <a:gd name="connsiteY132" fmla="*/ 534988 h 6858000"/>
              <a:gd name="connsiteX133" fmla="*/ 1236972 w 9595474"/>
              <a:gd name="connsiteY133" fmla="*/ 528638 h 6858000"/>
              <a:gd name="connsiteX134" fmla="*/ 1236677 w 9595474"/>
              <a:gd name="connsiteY134" fmla="*/ 522923 h 6858000"/>
              <a:gd name="connsiteX135" fmla="*/ 1236381 w 9595474"/>
              <a:gd name="connsiteY135" fmla="*/ 516890 h 6858000"/>
              <a:gd name="connsiteX136" fmla="*/ 1236677 w 9595474"/>
              <a:gd name="connsiteY136" fmla="*/ 511175 h 6858000"/>
              <a:gd name="connsiteX137" fmla="*/ 1236972 w 9595474"/>
              <a:gd name="connsiteY137" fmla="*/ 505460 h 6858000"/>
              <a:gd name="connsiteX138" fmla="*/ 1237859 w 9595474"/>
              <a:gd name="connsiteY138" fmla="*/ 499428 h 6858000"/>
              <a:gd name="connsiteX139" fmla="*/ 1238746 w 9595474"/>
              <a:gd name="connsiteY139" fmla="*/ 493713 h 6858000"/>
              <a:gd name="connsiteX140" fmla="*/ 1239928 w 9595474"/>
              <a:gd name="connsiteY140" fmla="*/ 487680 h 6858000"/>
              <a:gd name="connsiteX141" fmla="*/ 1241701 w 9595474"/>
              <a:gd name="connsiteY141" fmla="*/ 481965 h 6858000"/>
              <a:gd name="connsiteX142" fmla="*/ 1243475 w 9595474"/>
              <a:gd name="connsiteY142" fmla="*/ 476250 h 6858000"/>
              <a:gd name="connsiteX143" fmla="*/ 1245839 w 9595474"/>
              <a:gd name="connsiteY143" fmla="*/ 470535 h 6858000"/>
              <a:gd name="connsiteX144" fmla="*/ 1247908 w 9595474"/>
              <a:gd name="connsiteY144" fmla="*/ 465138 h 6858000"/>
              <a:gd name="connsiteX145" fmla="*/ 1250864 w 9595474"/>
              <a:gd name="connsiteY145" fmla="*/ 459740 h 6858000"/>
              <a:gd name="connsiteX146" fmla="*/ 1253524 w 9595474"/>
              <a:gd name="connsiteY146" fmla="*/ 454343 h 6858000"/>
              <a:gd name="connsiteX147" fmla="*/ 1256776 w 9595474"/>
              <a:gd name="connsiteY147" fmla="*/ 449263 h 6858000"/>
              <a:gd name="connsiteX148" fmla="*/ 1260322 w 9595474"/>
              <a:gd name="connsiteY148" fmla="*/ 444500 h 6858000"/>
              <a:gd name="connsiteX149" fmla="*/ 1264165 w 9595474"/>
              <a:gd name="connsiteY149" fmla="*/ 439420 h 6858000"/>
              <a:gd name="connsiteX150" fmla="*/ 1268303 w 9595474"/>
              <a:gd name="connsiteY150" fmla="*/ 434658 h 6858000"/>
              <a:gd name="connsiteX151" fmla="*/ 1272736 w 9595474"/>
              <a:gd name="connsiteY151" fmla="*/ 429895 h 6858000"/>
              <a:gd name="connsiteX152" fmla="*/ 1277466 w 9595474"/>
              <a:gd name="connsiteY152" fmla="*/ 425768 h 6858000"/>
              <a:gd name="connsiteX153" fmla="*/ 1281899 w 9595474"/>
              <a:gd name="connsiteY153" fmla="*/ 421323 h 6858000"/>
              <a:gd name="connsiteX154" fmla="*/ 1286924 w 9595474"/>
              <a:gd name="connsiteY154" fmla="*/ 417830 h 6858000"/>
              <a:gd name="connsiteX155" fmla="*/ 1291949 w 9595474"/>
              <a:gd name="connsiteY155" fmla="*/ 414338 h 6858000"/>
              <a:gd name="connsiteX156" fmla="*/ 1296973 w 9595474"/>
              <a:gd name="connsiteY156" fmla="*/ 410845 h 6858000"/>
              <a:gd name="connsiteX157" fmla="*/ 1302589 w 9595474"/>
              <a:gd name="connsiteY157" fmla="*/ 407988 h 6858000"/>
              <a:gd name="connsiteX158" fmla="*/ 1307910 w 9595474"/>
              <a:gd name="connsiteY158" fmla="*/ 405130 h 6858000"/>
              <a:gd name="connsiteX159" fmla="*/ 1313230 w 9595474"/>
              <a:gd name="connsiteY159" fmla="*/ 402908 h 6858000"/>
              <a:gd name="connsiteX160" fmla="*/ 1318846 w 9595474"/>
              <a:gd name="connsiteY160" fmla="*/ 401003 h 6858000"/>
              <a:gd name="connsiteX161" fmla="*/ 1324757 w 9595474"/>
              <a:gd name="connsiteY161" fmla="*/ 399098 h 6858000"/>
              <a:gd name="connsiteX162" fmla="*/ 1330373 w 9595474"/>
              <a:gd name="connsiteY162" fmla="*/ 397193 h 6858000"/>
              <a:gd name="connsiteX163" fmla="*/ 1336285 w 9595474"/>
              <a:gd name="connsiteY163" fmla="*/ 396240 h 6858000"/>
              <a:gd name="connsiteX164" fmla="*/ 1341901 w 9595474"/>
              <a:gd name="connsiteY164" fmla="*/ 395288 h 6858000"/>
              <a:gd name="connsiteX165" fmla="*/ 1348108 w 9595474"/>
              <a:gd name="connsiteY165" fmla="*/ 394335 h 6858000"/>
              <a:gd name="connsiteX166" fmla="*/ 1353723 w 9595474"/>
              <a:gd name="connsiteY166" fmla="*/ 394018 h 6858000"/>
              <a:gd name="connsiteX167" fmla="*/ 1359930 w 9595474"/>
              <a:gd name="connsiteY167" fmla="*/ 393700 h 6858000"/>
              <a:gd name="connsiteX168" fmla="*/ 1365546 w 9595474"/>
              <a:gd name="connsiteY168" fmla="*/ 394018 h 6858000"/>
              <a:gd name="connsiteX169" fmla="*/ 1371458 w 9595474"/>
              <a:gd name="connsiteY169" fmla="*/ 394335 h 6858000"/>
              <a:gd name="connsiteX170" fmla="*/ 1377665 w 9595474"/>
              <a:gd name="connsiteY170" fmla="*/ 395288 h 6858000"/>
              <a:gd name="connsiteX171" fmla="*/ 1383281 w 9595474"/>
              <a:gd name="connsiteY171" fmla="*/ 396240 h 6858000"/>
              <a:gd name="connsiteX172" fmla="*/ 1388897 w 9595474"/>
              <a:gd name="connsiteY172" fmla="*/ 397193 h 6858000"/>
              <a:gd name="connsiteX173" fmla="*/ 1394808 w 9595474"/>
              <a:gd name="connsiteY173" fmla="*/ 399098 h 6858000"/>
              <a:gd name="connsiteX174" fmla="*/ 1400424 w 9595474"/>
              <a:gd name="connsiteY174" fmla="*/ 401003 h 6858000"/>
              <a:gd name="connsiteX175" fmla="*/ 1406335 w 9595474"/>
              <a:gd name="connsiteY175" fmla="*/ 402908 h 6858000"/>
              <a:gd name="connsiteX176" fmla="*/ 1411656 w 9595474"/>
              <a:gd name="connsiteY176" fmla="*/ 405130 h 6858000"/>
              <a:gd name="connsiteX177" fmla="*/ 1416976 w 9595474"/>
              <a:gd name="connsiteY177" fmla="*/ 407988 h 6858000"/>
              <a:gd name="connsiteX178" fmla="*/ 1422296 w 9595474"/>
              <a:gd name="connsiteY178" fmla="*/ 410845 h 6858000"/>
              <a:gd name="connsiteX179" fmla="*/ 1427617 w 9595474"/>
              <a:gd name="connsiteY179" fmla="*/ 414338 h 6858000"/>
              <a:gd name="connsiteX180" fmla="*/ 1432641 w 9595474"/>
              <a:gd name="connsiteY180" fmla="*/ 417830 h 6858000"/>
              <a:gd name="connsiteX181" fmla="*/ 1437666 w 9595474"/>
              <a:gd name="connsiteY181" fmla="*/ 421323 h 6858000"/>
              <a:gd name="connsiteX182" fmla="*/ 1442100 w 9595474"/>
              <a:gd name="connsiteY182" fmla="*/ 425768 h 6858000"/>
              <a:gd name="connsiteX183" fmla="*/ 1446829 w 9595474"/>
              <a:gd name="connsiteY183" fmla="*/ 429895 h 6858000"/>
              <a:gd name="connsiteX184" fmla="*/ 1907036 w 9595474"/>
              <a:gd name="connsiteY184" fmla="*/ 890270 h 6858000"/>
              <a:gd name="connsiteX185" fmla="*/ 2165662 w 9595474"/>
              <a:gd name="connsiteY185" fmla="*/ 1148715 h 6858000"/>
              <a:gd name="connsiteX186" fmla="*/ 2170391 w 9595474"/>
              <a:gd name="connsiteY186" fmla="*/ 1153160 h 6858000"/>
              <a:gd name="connsiteX187" fmla="*/ 2175416 w 9595474"/>
              <a:gd name="connsiteY187" fmla="*/ 1157288 h 6858000"/>
              <a:gd name="connsiteX188" fmla="*/ 2180145 w 9595474"/>
              <a:gd name="connsiteY188" fmla="*/ 1161098 h 6858000"/>
              <a:gd name="connsiteX189" fmla="*/ 2185170 w 9595474"/>
              <a:gd name="connsiteY189" fmla="*/ 1164590 h 6858000"/>
              <a:gd name="connsiteX190" fmla="*/ 2190490 w 9595474"/>
              <a:gd name="connsiteY190" fmla="*/ 1167765 h 6858000"/>
              <a:gd name="connsiteX191" fmla="*/ 2195810 w 9595474"/>
              <a:gd name="connsiteY191" fmla="*/ 1170623 h 6858000"/>
              <a:gd name="connsiteX192" fmla="*/ 2201130 w 9595474"/>
              <a:gd name="connsiteY192" fmla="*/ 1173480 h 6858000"/>
              <a:gd name="connsiteX193" fmla="*/ 2206746 w 9595474"/>
              <a:gd name="connsiteY193" fmla="*/ 1176020 h 6858000"/>
              <a:gd name="connsiteX194" fmla="*/ 2212362 w 9595474"/>
              <a:gd name="connsiteY194" fmla="*/ 1177925 h 6858000"/>
              <a:gd name="connsiteX195" fmla="*/ 2217683 w 9595474"/>
              <a:gd name="connsiteY195" fmla="*/ 1180148 h 6858000"/>
              <a:gd name="connsiteX196" fmla="*/ 2223594 w 9595474"/>
              <a:gd name="connsiteY196" fmla="*/ 1181418 h 6858000"/>
              <a:gd name="connsiteX197" fmla="*/ 2229505 w 9595474"/>
              <a:gd name="connsiteY197" fmla="*/ 1182688 h 6858000"/>
              <a:gd name="connsiteX198" fmla="*/ 2235417 w 9595474"/>
              <a:gd name="connsiteY198" fmla="*/ 1183640 h 6858000"/>
              <a:gd name="connsiteX199" fmla="*/ 2241033 w 9595474"/>
              <a:gd name="connsiteY199" fmla="*/ 1184275 h 6858000"/>
              <a:gd name="connsiteX200" fmla="*/ 2247240 w 9595474"/>
              <a:gd name="connsiteY200" fmla="*/ 1184593 h 6858000"/>
              <a:gd name="connsiteX201" fmla="*/ 2252856 w 9595474"/>
              <a:gd name="connsiteY201" fmla="*/ 1185228 h 6858000"/>
              <a:gd name="connsiteX202" fmla="*/ 2259063 w 9595474"/>
              <a:gd name="connsiteY202" fmla="*/ 1184593 h 6858000"/>
              <a:gd name="connsiteX203" fmla="*/ 2264679 w 9595474"/>
              <a:gd name="connsiteY203" fmla="*/ 1184275 h 6858000"/>
              <a:gd name="connsiteX204" fmla="*/ 2270590 w 9595474"/>
              <a:gd name="connsiteY204" fmla="*/ 1183640 h 6858000"/>
              <a:gd name="connsiteX205" fmla="*/ 2276797 w 9595474"/>
              <a:gd name="connsiteY205" fmla="*/ 1182688 h 6858000"/>
              <a:gd name="connsiteX206" fmla="*/ 2282413 w 9595474"/>
              <a:gd name="connsiteY206" fmla="*/ 1181418 h 6858000"/>
              <a:gd name="connsiteX207" fmla="*/ 2288029 w 9595474"/>
              <a:gd name="connsiteY207" fmla="*/ 1180148 h 6858000"/>
              <a:gd name="connsiteX208" fmla="*/ 2293940 w 9595474"/>
              <a:gd name="connsiteY208" fmla="*/ 1177925 h 6858000"/>
              <a:gd name="connsiteX209" fmla="*/ 2299261 w 9595474"/>
              <a:gd name="connsiteY209" fmla="*/ 1176020 h 6858000"/>
              <a:gd name="connsiteX210" fmla="*/ 2304581 w 9595474"/>
              <a:gd name="connsiteY210" fmla="*/ 1173480 h 6858000"/>
              <a:gd name="connsiteX211" fmla="*/ 2310492 w 9595474"/>
              <a:gd name="connsiteY211" fmla="*/ 1170623 h 6858000"/>
              <a:gd name="connsiteX212" fmla="*/ 2315517 w 9595474"/>
              <a:gd name="connsiteY212" fmla="*/ 1167765 h 6858000"/>
              <a:gd name="connsiteX213" fmla="*/ 2320837 w 9595474"/>
              <a:gd name="connsiteY213" fmla="*/ 1164590 h 6858000"/>
              <a:gd name="connsiteX214" fmla="*/ 2325862 w 9595474"/>
              <a:gd name="connsiteY214" fmla="*/ 1161098 h 6858000"/>
              <a:gd name="connsiteX215" fmla="*/ 2330887 w 9595474"/>
              <a:gd name="connsiteY215" fmla="*/ 1157288 h 6858000"/>
              <a:gd name="connsiteX216" fmla="*/ 2335616 w 9595474"/>
              <a:gd name="connsiteY216" fmla="*/ 1153160 h 6858000"/>
              <a:gd name="connsiteX217" fmla="*/ 2340345 w 9595474"/>
              <a:gd name="connsiteY217" fmla="*/ 1148715 h 6858000"/>
              <a:gd name="connsiteX218" fmla="*/ 2344483 w 9595474"/>
              <a:gd name="connsiteY218" fmla="*/ 1144270 h 6858000"/>
              <a:gd name="connsiteX219" fmla="*/ 2348621 w 9595474"/>
              <a:gd name="connsiteY219" fmla="*/ 1139508 h 6858000"/>
              <a:gd name="connsiteX220" fmla="*/ 2352464 w 9595474"/>
              <a:gd name="connsiteY220" fmla="*/ 1134428 h 6858000"/>
              <a:gd name="connsiteX221" fmla="*/ 2356011 w 9595474"/>
              <a:gd name="connsiteY221" fmla="*/ 1129348 h 6858000"/>
              <a:gd name="connsiteX222" fmla="*/ 2359262 w 9595474"/>
              <a:gd name="connsiteY222" fmla="*/ 1124268 h 6858000"/>
              <a:gd name="connsiteX223" fmla="*/ 2362218 w 9595474"/>
              <a:gd name="connsiteY223" fmla="*/ 1118870 h 6858000"/>
              <a:gd name="connsiteX224" fmla="*/ 2364582 w 9595474"/>
              <a:gd name="connsiteY224" fmla="*/ 1113473 h 6858000"/>
              <a:gd name="connsiteX225" fmla="*/ 2367242 w 9595474"/>
              <a:gd name="connsiteY225" fmla="*/ 1108075 h 6858000"/>
              <a:gd name="connsiteX226" fmla="*/ 2369311 w 9595474"/>
              <a:gd name="connsiteY226" fmla="*/ 1102360 h 6858000"/>
              <a:gd name="connsiteX227" fmla="*/ 2371085 w 9595474"/>
              <a:gd name="connsiteY227" fmla="*/ 1096645 h 6858000"/>
              <a:gd name="connsiteX228" fmla="*/ 2372563 w 9595474"/>
              <a:gd name="connsiteY228" fmla="*/ 1090930 h 6858000"/>
              <a:gd name="connsiteX229" fmla="*/ 2374041 w 9595474"/>
              <a:gd name="connsiteY229" fmla="*/ 1085215 h 6858000"/>
              <a:gd name="connsiteX230" fmla="*/ 2375223 w 9595474"/>
              <a:gd name="connsiteY230" fmla="*/ 1079500 h 6858000"/>
              <a:gd name="connsiteX231" fmla="*/ 2375814 w 9595474"/>
              <a:gd name="connsiteY231" fmla="*/ 1073785 h 6858000"/>
              <a:gd name="connsiteX232" fmla="*/ 2376110 w 9595474"/>
              <a:gd name="connsiteY232" fmla="*/ 1067753 h 6858000"/>
              <a:gd name="connsiteX233" fmla="*/ 2376110 w 9595474"/>
              <a:gd name="connsiteY233" fmla="*/ 1061720 h 6858000"/>
              <a:gd name="connsiteX234" fmla="*/ 2376110 w 9595474"/>
              <a:gd name="connsiteY234" fmla="*/ 1055688 h 6858000"/>
              <a:gd name="connsiteX235" fmla="*/ 2375814 w 9595474"/>
              <a:gd name="connsiteY235" fmla="*/ 1049973 h 6858000"/>
              <a:gd name="connsiteX236" fmla="*/ 2375223 w 9595474"/>
              <a:gd name="connsiteY236" fmla="*/ 1043940 h 6858000"/>
              <a:gd name="connsiteX237" fmla="*/ 2374041 w 9595474"/>
              <a:gd name="connsiteY237" fmla="*/ 1038225 h 6858000"/>
              <a:gd name="connsiteX238" fmla="*/ 2372563 w 9595474"/>
              <a:gd name="connsiteY238" fmla="*/ 1032510 h 6858000"/>
              <a:gd name="connsiteX239" fmla="*/ 2371085 w 9595474"/>
              <a:gd name="connsiteY239" fmla="*/ 1026795 h 6858000"/>
              <a:gd name="connsiteX240" fmla="*/ 2369311 w 9595474"/>
              <a:gd name="connsiteY240" fmla="*/ 1021080 h 6858000"/>
              <a:gd name="connsiteX241" fmla="*/ 2367242 w 9595474"/>
              <a:gd name="connsiteY241" fmla="*/ 1015683 h 6858000"/>
              <a:gd name="connsiteX242" fmla="*/ 2364582 w 9595474"/>
              <a:gd name="connsiteY242" fmla="*/ 1009650 h 6858000"/>
              <a:gd name="connsiteX243" fmla="*/ 2362218 w 9595474"/>
              <a:gd name="connsiteY243" fmla="*/ 1004253 h 6858000"/>
              <a:gd name="connsiteX244" fmla="*/ 2359262 w 9595474"/>
              <a:gd name="connsiteY244" fmla="*/ 998855 h 6858000"/>
              <a:gd name="connsiteX245" fmla="*/ 2356011 w 9595474"/>
              <a:gd name="connsiteY245" fmla="*/ 994093 h 6858000"/>
              <a:gd name="connsiteX246" fmla="*/ 2352464 w 9595474"/>
              <a:gd name="connsiteY246" fmla="*/ 989013 h 6858000"/>
              <a:gd name="connsiteX247" fmla="*/ 2348621 w 9595474"/>
              <a:gd name="connsiteY247" fmla="*/ 983933 h 6858000"/>
              <a:gd name="connsiteX248" fmla="*/ 2344483 w 9595474"/>
              <a:gd name="connsiteY248" fmla="*/ 979170 h 6858000"/>
              <a:gd name="connsiteX249" fmla="*/ 2340345 w 9595474"/>
              <a:gd name="connsiteY249" fmla="*/ 974725 h 6858000"/>
              <a:gd name="connsiteX250" fmla="*/ 2240737 w 9595474"/>
              <a:gd name="connsiteY250" fmla="*/ 875030 h 6858000"/>
              <a:gd name="connsiteX251" fmla="*/ 1991865 w 9595474"/>
              <a:gd name="connsiteY251" fmla="*/ 626428 h 6858000"/>
              <a:gd name="connsiteX252" fmla="*/ 1987431 w 9595474"/>
              <a:gd name="connsiteY252" fmla="*/ 621665 h 6858000"/>
              <a:gd name="connsiteX253" fmla="*/ 1983589 w 9595474"/>
              <a:gd name="connsiteY253" fmla="*/ 616903 h 6858000"/>
              <a:gd name="connsiteX254" fmla="*/ 1979451 w 9595474"/>
              <a:gd name="connsiteY254" fmla="*/ 612140 h 6858000"/>
              <a:gd name="connsiteX255" fmla="*/ 1975904 w 9595474"/>
              <a:gd name="connsiteY255" fmla="*/ 607060 h 6858000"/>
              <a:gd name="connsiteX256" fmla="*/ 1972653 w 9595474"/>
              <a:gd name="connsiteY256" fmla="*/ 601663 h 6858000"/>
              <a:gd name="connsiteX257" fmla="*/ 1969993 w 9595474"/>
              <a:gd name="connsiteY257" fmla="*/ 596265 h 6858000"/>
              <a:gd name="connsiteX258" fmla="*/ 1967037 w 9595474"/>
              <a:gd name="connsiteY258" fmla="*/ 590868 h 6858000"/>
              <a:gd name="connsiteX259" fmla="*/ 1964968 w 9595474"/>
              <a:gd name="connsiteY259" fmla="*/ 585470 h 6858000"/>
              <a:gd name="connsiteX260" fmla="*/ 1962603 w 9595474"/>
              <a:gd name="connsiteY260" fmla="*/ 579755 h 6858000"/>
              <a:gd name="connsiteX261" fmla="*/ 1960830 w 9595474"/>
              <a:gd name="connsiteY261" fmla="*/ 574358 h 6858000"/>
              <a:gd name="connsiteX262" fmla="*/ 1959056 w 9595474"/>
              <a:gd name="connsiteY262" fmla="*/ 568643 h 6858000"/>
              <a:gd name="connsiteX263" fmla="*/ 1958170 w 9595474"/>
              <a:gd name="connsiteY263" fmla="*/ 562610 h 6858000"/>
              <a:gd name="connsiteX264" fmla="*/ 1956987 w 9595474"/>
              <a:gd name="connsiteY264" fmla="*/ 556895 h 6858000"/>
              <a:gd name="connsiteX265" fmla="*/ 1956396 w 9595474"/>
              <a:gd name="connsiteY265" fmla="*/ 551180 h 6858000"/>
              <a:gd name="connsiteX266" fmla="*/ 1955805 w 9595474"/>
              <a:gd name="connsiteY266" fmla="*/ 544830 h 6858000"/>
              <a:gd name="connsiteX267" fmla="*/ 1955805 w 9595474"/>
              <a:gd name="connsiteY267" fmla="*/ 539115 h 6858000"/>
              <a:gd name="connsiteX268" fmla="*/ 1955805 w 9595474"/>
              <a:gd name="connsiteY268" fmla="*/ 533083 h 6858000"/>
              <a:gd name="connsiteX269" fmla="*/ 1956396 w 9595474"/>
              <a:gd name="connsiteY269" fmla="*/ 527368 h 6858000"/>
              <a:gd name="connsiteX270" fmla="*/ 1956987 w 9595474"/>
              <a:gd name="connsiteY270" fmla="*/ 521653 h 6858000"/>
              <a:gd name="connsiteX271" fmla="*/ 1958170 w 9595474"/>
              <a:gd name="connsiteY271" fmla="*/ 515620 h 6858000"/>
              <a:gd name="connsiteX272" fmla="*/ 1959056 w 9595474"/>
              <a:gd name="connsiteY272" fmla="*/ 509588 h 6858000"/>
              <a:gd name="connsiteX273" fmla="*/ 1960830 w 9595474"/>
              <a:gd name="connsiteY273" fmla="*/ 503873 h 6858000"/>
              <a:gd name="connsiteX274" fmla="*/ 1962603 w 9595474"/>
              <a:gd name="connsiteY274" fmla="*/ 498158 h 6858000"/>
              <a:gd name="connsiteX275" fmla="*/ 1964968 w 9595474"/>
              <a:gd name="connsiteY275" fmla="*/ 492760 h 6858000"/>
              <a:gd name="connsiteX276" fmla="*/ 1967037 w 9595474"/>
              <a:gd name="connsiteY276" fmla="*/ 487363 h 6858000"/>
              <a:gd name="connsiteX277" fmla="*/ 1969993 w 9595474"/>
              <a:gd name="connsiteY277" fmla="*/ 481648 h 6858000"/>
              <a:gd name="connsiteX278" fmla="*/ 1972653 w 9595474"/>
              <a:gd name="connsiteY278" fmla="*/ 476568 h 6858000"/>
              <a:gd name="connsiteX279" fmla="*/ 1975904 w 9595474"/>
              <a:gd name="connsiteY279" fmla="*/ 471170 h 6858000"/>
              <a:gd name="connsiteX280" fmla="*/ 1979451 w 9595474"/>
              <a:gd name="connsiteY280" fmla="*/ 466408 h 6858000"/>
              <a:gd name="connsiteX281" fmla="*/ 1983589 w 9595474"/>
              <a:gd name="connsiteY281" fmla="*/ 461328 h 6858000"/>
              <a:gd name="connsiteX282" fmla="*/ 1987431 w 9595474"/>
              <a:gd name="connsiteY282" fmla="*/ 456565 h 6858000"/>
              <a:gd name="connsiteX283" fmla="*/ 1991865 w 9595474"/>
              <a:gd name="connsiteY283" fmla="*/ 451803 h 6858000"/>
              <a:gd name="connsiteX284" fmla="*/ 1996594 w 9595474"/>
              <a:gd name="connsiteY284" fmla="*/ 447675 h 6858000"/>
              <a:gd name="connsiteX285" fmla="*/ 2001028 w 9595474"/>
              <a:gd name="connsiteY285" fmla="*/ 443548 h 6858000"/>
              <a:gd name="connsiteX286" fmla="*/ 2006052 w 9595474"/>
              <a:gd name="connsiteY286" fmla="*/ 439738 h 6858000"/>
              <a:gd name="connsiteX287" fmla="*/ 2011077 w 9595474"/>
              <a:gd name="connsiteY287" fmla="*/ 436245 h 6858000"/>
              <a:gd name="connsiteX288" fmla="*/ 2016102 w 9595474"/>
              <a:gd name="connsiteY288" fmla="*/ 432753 h 6858000"/>
              <a:gd name="connsiteX289" fmla="*/ 2021718 w 9595474"/>
              <a:gd name="connsiteY289" fmla="*/ 429895 h 6858000"/>
              <a:gd name="connsiteX290" fmla="*/ 2027038 w 9595474"/>
              <a:gd name="connsiteY290" fmla="*/ 427355 h 6858000"/>
              <a:gd name="connsiteX291" fmla="*/ 2032654 w 9595474"/>
              <a:gd name="connsiteY291" fmla="*/ 424815 h 6858000"/>
              <a:gd name="connsiteX292" fmla="*/ 2038270 w 9595474"/>
              <a:gd name="connsiteY292" fmla="*/ 422910 h 6858000"/>
              <a:gd name="connsiteX293" fmla="*/ 2043886 w 9595474"/>
              <a:gd name="connsiteY293" fmla="*/ 421005 h 6858000"/>
              <a:gd name="connsiteX294" fmla="*/ 2049502 w 9595474"/>
              <a:gd name="connsiteY294" fmla="*/ 419735 h 6858000"/>
              <a:gd name="connsiteX295" fmla="*/ 2055413 w 9595474"/>
              <a:gd name="connsiteY295" fmla="*/ 418148 h 6858000"/>
              <a:gd name="connsiteX296" fmla="*/ 2061029 w 9595474"/>
              <a:gd name="connsiteY296" fmla="*/ 417195 h 6858000"/>
              <a:gd name="connsiteX297" fmla="*/ 2067236 w 9595474"/>
              <a:gd name="connsiteY297" fmla="*/ 416243 h 6858000"/>
              <a:gd name="connsiteX298" fmla="*/ 2072852 w 9595474"/>
              <a:gd name="connsiteY298" fmla="*/ 415925 h 6858000"/>
              <a:gd name="connsiteX299" fmla="*/ 2079059 w 9595474"/>
              <a:gd name="connsiteY299" fmla="*/ 415925 h 6858000"/>
              <a:gd name="connsiteX300" fmla="*/ 2084970 w 9595474"/>
              <a:gd name="connsiteY300" fmla="*/ 415925 h 6858000"/>
              <a:gd name="connsiteX301" fmla="*/ 2090882 w 9595474"/>
              <a:gd name="connsiteY301" fmla="*/ 416243 h 6858000"/>
              <a:gd name="connsiteX302" fmla="*/ 2096793 w 9595474"/>
              <a:gd name="connsiteY302" fmla="*/ 417195 h 6858000"/>
              <a:gd name="connsiteX303" fmla="*/ 2102409 w 9595474"/>
              <a:gd name="connsiteY303" fmla="*/ 418148 h 6858000"/>
              <a:gd name="connsiteX304" fmla="*/ 2108321 w 9595474"/>
              <a:gd name="connsiteY304" fmla="*/ 419735 h 6858000"/>
              <a:gd name="connsiteX305" fmla="*/ 2113936 w 9595474"/>
              <a:gd name="connsiteY305" fmla="*/ 421005 h 6858000"/>
              <a:gd name="connsiteX306" fmla="*/ 2119552 w 9595474"/>
              <a:gd name="connsiteY306" fmla="*/ 422910 h 6858000"/>
              <a:gd name="connsiteX307" fmla="*/ 2125464 w 9595474"/>
              <a:gd name="connsiteY307" fmla="*/ 424815 h 6858000"/>
              <a:gd name="connsiteX308" fmla="*/ 2130784 w 9595474"/>
              <a:gd name="connsiteY308" fmla="*/ 427355 h 6858000"/>
              <a:gd name="connsiteX309" fmla="*/ 2136104 w 9595474"/>
              <a:gd name="connsiteY309" fmla="*/ 429895 h 6858000"/>
              <a:gd name="connsiteX310" fmla="*/ 2141720 w 9595474"/>
              <a:gd name="connsiteY310" fmla="*/ 432753 h 6858000"/>
              <a:gd name="connsiteX311" fmla="*/ 2146745 w 9595474"/>
              <a:gd name="connsiteY311" fmla="*/ 436245 h 6858000"/>
              <a:gd name="connsiteX312" fmla="*/ 2152065 w 9595474"/>
              <a:gd name="connsiteY312" fmla="*/ 439738 h 6858000"/>
              <a:gd name="connsiteX313" fmla="*/ 2156795 w 9595474"/>
              <a:gd name="connsiteY313" fmla="*/ 443548 h 6858000"/>
              <a:gd name="connsiteX314" fmla="*/ 2161819 w 9595474"/>
              <a:gd name="connsiteY314" fmla="*/ 447675 h 6858000"/>
              <a:gd name="connsiteX315" fmla="*/ 2165957 w 9595474"/>
              <a:gd name="connsiteY315" fmla="*/ 451803 h 6858000"/>
              <a:gd name="connsiteX316" fmla="*/ 2966073 w 9595474"/>
              <a:gd name="connsiteY316" fmla="*/ 1251903 h 6858000"/>
              <a:gd name="connsiteX317" fmla="*/ 5612631 w 9595474"/>
              <a:gd name="connsiteY317" fmla="*/ 3898583 h 6858000"/>
              <a:gd name="connsiteX318" fmla="*/ 5617360 w 9595474"/>
              <a:gd name="connsiteY318" fmla="*/ 3903345 h 6858000"/>
              <a:gd name="connsiteX319" fmla="*/ 5621498 w 9595474"/>
              <a:gd name="connsiteY319" fmla="*/ 3908425 h 6858000"/>
              <a:gd name="connsiteX320" fmla="*/ 5625341 w 9595474"/>
              <a:gd name="connsiteY320" fmla="*/ 3913505 h 6858000"/>
              <a:gd name="connsiteX321" fmla="*/ 5628888 w 9595474"/>
              <a:gd name="connsiteY321" fmla="*/ 3918585 h 6858000"/>
              <a:gd name="connsiteX322" fmla="*/ 5632139 w 9595474"/>
              <a:gd name="connsiteY322" fmla="*/ 3923348 h 6858000"/>
              <a:gd name="connsiteX323" fmla="*/ 5635094 w 9595474"/>
              <a:gd name="connsiteY323" fmla="*/ 3928745 h 6858000"/>
              <a:gd name="connsiteX324" fmla="*/ 5638050 w 9595474"/>
              <a:gd name="connsiteY324" fmla="*/ 3934460 h 6858000"/>
              <a:gd name="connsiteX325" fmla="*/ 5640415 w 9595474"/>
              <a:gd name="connsiteY325" fmla="*/ 3939858 h 6858000"/>
              <a:gd name="connsiteX326" fmla="*/ 5642484 w 9595474"/>
              <a:gd name="connsiteY326" fmla="*/ 3945890 h 6858000"/>
              <a:gd name="connsiteX327" fmla="*/ 5644257 w 9595474"/>
              <a:gd name="connsiteY327" fmla="*/ 3951605 h 6858000"/>
              <a:gd name="connsiteX328" fmla="*/ 5645735 w 9595474"/>
              <a:gd name="connsiteY328" fmla="*/ 3957320 h 6858000"/>
              <a:gd name="connsiteX329" fmla="*/ 5647213 w 9595474"/>
              <a:gd name="connsiteY329" fmla="*/ 3963353 h 6858000"/>
              <a:gd name="connsiteX330" fmla="*/ 5648100 w 9595474"/>
              <a:gd name="connsiteY330" fmla="*/ 3969068 h 6858000"/>
              <a:gd name="connsiteX331" fmla="*/ 5648691 w 9595474"/>
              <a:gd name="connsiteY331" fmla="*/ 3975100 h 6858000"/>
              <a:gd name="connsiteX332" fmla="*/ 5649282 w 9595474"/>
              <a:gd name="connsiteY332" fmla="*/ 3980815 h 6858000"/>
              <a:gd name="connsiteX333" fmla="*/ 5649282 w 9595474"/>
              <a:gd name="connsiteY333" fmla="*/ 3987165 h 6858000"/>
              <a:gd name="connsiteX334" fmla="*/ 5649282 w 9595474"/>
              <a:gd name="connsiteY334" fmla="*/ 3992880 h 6858000"/>
              <a:gd name="connsiteX335" fmla="*/ 5648691 w 9595474"/>
              <a:gd name="connsiteY335" fmla="*/ 3998913 h 6858000"/>
              <a:gd name="connsiteX336" fmla="*/ 5648100 w 9595474"/>
              <a:gd name="connsiteY336" fmla="*/ 4004945 h 6858000"/>
              <a:gd name="connsiteX337" fmla="*/ 5647213 w 9595474"/>
              <a:gd name="connsiteY337" fmla="*/ 4010660 h 6858000"/>
              <a:gd name="connsiteX338" fmla="*/ 5645735 w 9595474"/>
              <a:gd name="connsiteY338" fmla="*/ 4016375 h 6858000"/>
              <a:gd name="connsiteX339" fmla="*/ 5644257 w 9595474"/>
              <a:gd name="connsiteY339" fmla="*/ 4022725 h 6858000"/>
              <a:gd name="connsiteX340" fmla="*/ 5642484 w 9595474"/>
              <a:gd name="connsiteY340" fmla="*/ 4028440 h 6858000"/>
              <a:gd name="connsiteX341" fmla="*/ 5640415 w 9595474"/>
              <a:gd name="connsiteY341" fmla="*/ 4033838 h 6858000"/>
              <a:gd name="connsiteX342" fmla="*/ 5638050 w 9595474"/>
              <a:gd name="connsiteY342" fmla="*/ 4039553 h 6858000"/>
              <a:gd name="connsiteX343" fmla="*/ 5635094 w 9595474"/>
              <a:gd name="connsiteY343" fmla="*/ 4044950 h 6858000"/>
              <a:gd name="connsiteX344" fmla="*/ 5632139 w 9595474"/>
              <a:gd name="connsiteY344" fmla="*/ 4050348 h 6858000"/>
              <a:gd name="connsiteX345" fmla="*/ 5628888 w 9595474"/>
              <a:gd name="connsiteY345" fmla="*/ 4055745 h 6858000"/>
              <a:gd name="connsiteX346" fmla="*/ 5625341 w 9595474"/>
              <a:gd name="connsiteY346" fmla="*/ 4060825 h 6858000"/>
              <a:gd name="connsiteX347" fmla="*/ 5621498 w 9595474"/>
              <a:gd name="connsiteY347" fmla="*/ 4065588 h 6858000"/>
              <a:gd name="connsiteX348" fmla="*/ 5617360 w 9595474"/>
              <a:gd name="connsiteY348" fmla="*/ 4070350 h 6858000"/>
              <a:gd name="connsiteX349" fmla="*/ 5612631 w 9595474"/>
              <a:gd name="connsiteY349" fmla="*/ 4075113 h 6858000"/>
              <a:gd name="connsiteX350" fmla="*/ 5608198 w 9595474"/>
              <a:gd name="connsiteY350" fmla="*/ 4079875 h 6858000"/>
              <a:gd name="connsiteX351" fmla="*/ 5603468 w 9595474"/>
              <a:gd name="connsiteY351" fmla="*/ 4083685 h 6858000"/>
              <a:gd name="connsiteX352" fmla="*/ 5598443 w 9595474"/>
              <a:gd name="connsiteY352" fmla="*/ 4087495 h 6858000"/>
              <a:gd name="connsiteX353" fmla="*/ 5593419 w 9595474"/>
              <a:gd name="connsiteY353" fmla="*/ 4091305 h 6858000"/>
              <a:gd name="connsiteX354" fmla="*/ 5588098 w 9595474"/>
              <a:gd name="connsiteY354" fmla="*/ 4094480 h 6858000"/>
              <a:gd name="connsiteX355" fmla="*/ 5582482 w 9595474"/>
              <a:gd name="connsiteY355" fmla="*/ 4097338 h 6858000"/>
              <a:gd name="connsiteX356" fmla="*/ 5577162 w 9595474"/>
              <a:gd name="connsiteY356" fmla="*/ 4100195 h 6858000"/>
              <a:gd name="connsiteX357" fmla="*/ 5571842 w 9595474"/>
              <a:gd name="connsiteY357" fmla="*/ 4102418 h 6858000"/>
              <a:gd name="connsiteX358" fmla="*/ 5565931 w 9595474"/>
              <a:gd name="connsiteY358" fmla="*/ 4104640 h 6858000"/>
              <a:gd name="connsiteX359" fmla="*/ 5560315 w 9595474"/>
              <a:gd name="connsiteY359" fmla="*/ 4106545 h 6858000"/>
              <a:gd name="connsiteX360" fmla="*/ 5554699 w 9595474"/>
              <a:gd name="connsiteY360" fmla="*/ 4108133 h 6858000"/>
              <a:gd name="connsiteX361" fmla="*/ 5548492 w 9595474"/>
              <a:gd name="connsiteY361" fmla="*/ 4109403 h 6858000"/>
              <a:gd name="connsiteX362" fmla="*/ 5542580 w 9595474"/>
              <a:gd name="connsiteY362" fmla="*/ 4110355 h 6858000"/>
              <a:gd name="connsiteX363" fmla="*/ 5536669 w 9595474"/>
              <a:gd name="connsiteY363" fmla="*/ 4110990 h 6858000"/>
              <a:gd name="connsiteX364" fmla="*/ 5530758 w 9595474"/>
              <a:gd name="connsiteY364" fmla="*/ 4111308 h 6858000"/>
              <a:gd name="connsiteX365" fmla="*/ 5524846 w 9595474"/>
              <a:gd name="connsiteY365" fmla="*/ 4111625 h 6858000"/>
              <a:gd name="connsiteX366" fmla="*/ 5518639 w 9595474"/>
              <a:gd name="connsiteY366" fmla="*/ 4111308 h 6858000"/>
              <a:gd name="connsiteX367" fmla="*/ 5513023 w 9595474"/>
              <a:gd name="connsiteY367" fmla="*/ 4110990 h 6858000"/>
              <a:gd name="connsiteX368" fmla="*/ 5506816 w 9595474"/>
              <a:gd name="connsiteY368" fmla="*/ 4110355 h 6858000"/>
              <a:gd name="connsiteX369" fmla="*/ 5501200 w 9595474"/>
              <a:gd name="connsiteY369" fmla="*/ 4109403 h 6858000"/>
              <a:gd name="connsiteX370" fmla="*/ 5494993 w 9595474"/>
              <a:gd name="connsiteY370" fmla="*/ 4108133 h 6858000"/>
              <a:gd name="connsiteX371" fmla="*/ 5489081 w 9595474"/>
              <a:gd name="connsiteY371" fmla="*/ 4106545 h 6858000"/>
              <a:gd name="connsiteX372" fmla="*/ 5483466 w 9595474"/>
              <a:gd name="connsiteY372" fmla="*/ 4104640 h 6858000"/>
              <a:gd name="connsiteX373" fmla="*/ 5477850 w 9595474"/>
              <a:gd name="connsiteY373" fmla="*/ 4102418 h 6858000"/>
              <a:gd name="connsiteX374" fmla="*/ 5472234 w 9595474"/>
              <a:gd name="connsiteY374" fmla="*/ 4100195 h 6858000"/>
              <a:gd name="connsiteX375" fmla="*/ 5466913 w 9595474"/>
              <a:gd name="connsiteY375" fmla="*/ 4097338 h 6858000"/>
              <a:gd name="connsiteX376" fmla="*/ 5461593 w 9595474"/>
              <a:gd name="connsiteY376" fmla="*/ 4094480 h 6858000"/>
              <a:gd name="connsiteX377" fmla="*/ 5456273 w 9595474"/>
              <a:gd name="connsiteY377" fmla="*/ 4091305 h 6858000"/>
              <a:gd name="connsiteX378" fmla="*/ 5451248 w 9595474"/>
              <a:gd name="connsiteY378" fmla="*/ 4087495 h 6858000"/>
              <a:gd name="connsiteX379" fmla="*/ 5446223 w 9595474"/>
              <a:gd name="connsiteY379" fmla="*/ 4083685 h 6858000"/>
              <a:gd name="connsiteX380" fmla="*/ 5441495 w 9595474"/>
              <a:gd name="connsiteY380" fmla="*/ 4079875 h 6858000"/>
              <a:gd name="connsiteX381" fmla="*/ 5436765 w 9595474"/>
              <a:gd name="connsiteY381" fmla="*/ 4075113 h 6858000"/>
              <a:gd name="connsiteX382" fmla="*/ 5322379 w 9595474"/>
              <a:gd name="connsiteY382" fmla="*/ 3960813 h 6858000"/>
              <a:gd name="connsiteX383" fmla="*/ 5317945 w 9595474"/>
              <a:gd name="connsiteY383" fmla="*/ 3956368 h 6858000"/>
              <a:gd name="connsiteX384" fmla="*/ 5312921 w 9595474"/>
              <a:gd name="connsiteY384" fmla="*/ 3952240 h 6858000"/>
              <a:gd name="connsiteX385" fmla="*/ 5307896 w 9595474"/>
              <a:gd name="connsiteY385" fmla="*/ 3948748 h 6858000"/>
              <a:gd name="connsiteX386" fmla="*/ 5302871 w 9595474"/>
              <a:gd name="connsiteY386" fmla="*/ 3944938 h 6858000"/>
              <a:gd name="connsiteX387" fmla="*/ 5297255 w 9595474"/>
              <a:gd name="connsiteY387" fmla="*/ 3941763 h 6858000"/>
              <a:gd name="connsiteX388" fmla="*/ 5292230 w 9595474"/>
              <a:gd name="connsiteY388" fmla="*/ 3938588 h 6858000"/>
              <a:gd name="connsiteX389" fmla="*/ 5286615 w 9595474"/>
              <a:gd name="connsiteY389" fmla="*/ 3936048 h 6858000"/>
              <a:gd name="connsiteX390" fmla="*/ 5281294 w 9595474"/>
              <a:gd name="connsiteY390" fmla="*/ 3933508 h 6858000"/>
              <a:gd name="connsiteX391" fmla="*/ 5275383 w 9595474"/>
              <a:gd name="connsiteY391" fmla="*/ 3931285 h 6858000"/>
              <a:gd name="connsiteX392" fmla="*/ 5269767 w 9595474"/>
              <a:gd name="connsiteY392" fmla="*/ 3929698 h 6858000"/>
              <a:gd name="connsiteX393" fmla="*/ 5263855 w 9595474"/>
              <a:gd name="connsiteY393" fmla="*/ 3927793 h 6858000"/>
              <a:gd name="connsiteX394" fmla="*/ 5257944 w 9595474"/>
              <a:gd name="connsiteY394" fmla="*/ 3926840 h 6858000"/>
              <a:gd name="connsiteX395" fmla="*/ 5252033 w 9595474"/>
              <a:gd name="connsiteY395" fmla="*/ 3925570 h 6858000"/>
              <a:gd name="connsiteX396" fmla="*/ 5246121 w 9595474"/>
              <a:gd name="connsiteY396" fmla="*/ 3924935 h 6858000"/>
              <a:gd name="connsiteX397" fmla="*/ 5240210 w 9595474"/>
              <a:gd name="connsiteY397" fmla="*/ 3924618 h 6858000"/>
              <a:gd name="connsiteX398" fmla="*/ 5234298 w 9595474"/>
              <a:gd name="connsiteY398" fmla="*/ 3924618 h 6858000"/>
              <a:gd name="connsiteX399" fmla="*/ 5228091 w 9595474"/>
              <a:gd name="connsiteY399" fmla="*/ 3924618 h 6858000"/>
              <a:gd name="connsiteX400" fmla="*/ 5222180 w 9595474"/>
              <a:gd name="connsiteY400" fmla="*/ 3924935 h 6858000"/>
              <a:gd name="connsiteX401" fmla="*/ 5216268 w 9595474"/>
              <a:gd name="connsiteY401" fmla="*/ 3925570 h 6858000"/>
              <a:gd name="connsiteX402" fmla="*/ 5210357 w 9595474"/>
              <a:gd name="connsiteY402" fmla="*/ 3926840 h 6858000"/>
              <a:gd name="connsiteX403" fmla="*/ 5204741 w 9595474"/>
              <a:gd name="connsiteY403" fmla="*/ 3927793 h 6858000"/>
              <a:gd name="connsiteX404" fmla="*/ 5198534 w 9595474"/>
              <a:gd name="connsiteY404" fmla="*/ 3929698 h 6858000"/>
              <a:gd name="connsiteX405" fmla="*/ 5192918 w 9595474"/>
              <a:gd name="connsiteY405" fmla="*/ 3931285 h 6858000"/>
              <a:gd name="connsiteX406" fmla="*/ 5187598 w 9595474"/>
              <a:gd name="connsiteY406" fmla="*/ 3933508 h 6858000"/>
              <a:gd name="connsiteX407" fmla="*/ 5181686 w 9595474"/>
              <a:gd name="connsiteY407" fmla="*/ 3936048 h 6858000"/>
              <a:gd name="connsiteX408" fmla="*/ 5176366 w 9595474"/>
              <a:gd name="connsiteY408" fmla="*/ 3938588 h 6858000"/>
              <a:gd name="connsiteX409" fmla="*/ 5171046 w 9595474"/>
              <a:gd name="connsiteY409" fmla="*/ 3941763 h 6858000"/>
              <a:gd name="connsiteX410" fmla="*/ 5165430 w 9595474"/>
              <a:gd name="connsiteY410" fmla="*/ 3944938 h 6858000"/>
              <a:gd name="connsiteX411" fmla="*/ 5160405 w 9595474"/>
              <a:gd name="connsiteY411" fmla="*/ 3948748 h 6858000"/>
              <a:gd name="connsiteX412" fmla="*/ 5155380 w 9595474"/>
              <a:gd name="connsiteY412" fmla="*/ 3952240 h 6858000"/>
              <a:gd name="connsiteX413" fmla="*/ 5150947 w 9595474"/>
              <a:gd name="connsiteY413" fmla="*/ 3956368 h 6858000"/>
              <a:gd name="connsiteX414" fmla="*/ 5146218 w 9595474"/>
              <a:gd name="connsiteY414" fmla="*/ 3960813 h 6858000"/>
              <a:gd name="connsiteX415" fmla="*/ 5141488 w 9595474"/>
              <a:gd name="connsiteY415" fmla="*/ 3965575 h 6858000"/>
              <a:gd name="connsiteX416" fmla="*/ 5137646 w 9595474"/>
              <a:gd name="connsiteY416" fmla="*/ 3970655 h 6858000"/>
              <a:gd name="connsiteX417" fmla="*/ 5133508 w 9595474"/>
              <a:gd name="connsiteY417" fmla="*/ 3975100 h 6858000"/>
              <a:gd name="connsiteX418" fmla="*/ 5129961 w 9595474"/>
              <a:gd name="connsiteY418" fmla="*/ 3980498 h 6858000"/>
              <a:gd name="connsiteX419" fmla="*/ 5126710 w 9595474"/>
              <a:gd name="connsiteY419" fmla="*/ 3985578 h 6858000"/>
              <a:gd name="connsiteX420" fmla="*/ 5123754 w 9595474"/>
              <a:gd name="connsiteY420" fmla="*/ 3990975 h 6858000"/>
              <a:gd name="connsiteX421" fmla="*/ 5121094 w 9595474"/>
              <a:gd name="connsiteY421" fmla="*/ 3996373 h 6858000"/>
              <a:gd name="connsiteX422" fmla="*/ 5118729 w 9595474"/>
              <a:gd name="connsiteY422" fmla="*/ 4002088 h 6858000"/>
              <a:gd name="connsiteX423" fmla="*/ 5116660 w 9595474"/>
              <a:gd name="connsiteY423" fmla="*/ 4007803 h 6858000"/>
              <a:gd name="connsiteX424" fmla="*/ 5114591 w 9595474"/>
              <a:gd name="connsiteY424" fmla="*/ 4013518 h 6858000"/>
              <a:gd name="connsiteX425" fmla="*/ 5113113 w 9595474"/>
              <a:gd name="connsiteY425" fmla="*/ 4019233 h 6858000"/>
              <a:gd name="connsiteX426" fmla="*/ 5111636 w 9595474"/>
              <a:gd name="connsiteY426" fmla="*/ 4025265 h 6858000"/>
              <a:gd name="connsiteX427" fmla="*/ 5111044 w 9595474"/>
              <a:gd name="connsiteY427" fmla="*/ 4031298 h 6858000"/>
              <a:gd name="connsiteX428" fmla="*/ 5110158 w 9595474"/>
              <a:gd name="connsiteY428" fmla="*/ 4037013 h 6858000"/>
              <a:gd name="connsiteX429" fmla="*/ 5109862 w 9595474"/>
              <a:gd name="connsiteY429" fmla="*/ 4043045 h 6858000"/>
              <a:gd name="connsiteX430" fmla="*/ 5109567 w 9595474"/>
              <a:gd name="connsiteY430" fmla="*/ 4049078 h 6858000"/>
              <a:gd name="connsiteX431" fmla="*/ 5109862 w 9595474"/>
              <a:gd name="connsiteY431" fmla="*/ 4055110 h 6858000"/>
              <a:gd name="connsiteX432" fmla="*/ 5110158 w 9595474"/>
              <a:gd name="connsiteY432" fmla="*/ 4061143 h 6858000"/>
              <a:gd name="connsiteX433" fmla="*/ 5111044 w 9595474"/>
              <a:gd name="connsiteY433" fmla="*/ 4066858 h 6858000"/>
              <a:gd name="connsiteX434" fmla="*/ 5111636 w 9595474"/>
              <a:gd name="connsiteY434" fmla="*/ 4072890 h 6858000"/>
              <a:gd name="connsiteX435" fmla="*/ 5113113 w 9595474"/>
              <a:gd name="connsiteY435" fmla="*/ 4078605 h 6858000"/>
              <a:gd name="connsiteX436" fmla="*/ 5114591 w 9595474"/>
              <a:gd name="connsiteY436" fmla="*/ 4084320 h 6858000"/>
              <a:gd name="connsiteX437" fmla="*/ 5116660 w 9595474"/>
              <a:gd name="connsiteY437" fmla="*/ 4090035 h 6858000"/>
              <a:gd name="connsiteX438" fmla="*/ 5118729 w 9595474"/>
              <a:gd name="connsiteY438" fmla="*/ 4095750 h 6858000"/>
              <a:gd name="connsiteX439" fmla="*/ 5121094 w 9595474"/>
              <a:gd name="connsiteY439" fmla="*/ 4101783 h 6858000"/>
              <a:gd name="connsiteX440" fmla="*/ 5123754 w 9595474"/>
              <a:gd name="connsiteY440" fmla="*/ 4107180 h 6858000"/>
              <a:gd name="connsiteX441" fmla="*/ 5126710 w 9595474"/>
              <a:gd name="connsiteY441" fmla="*/ 4112578 h 6858000"/>
              <a:gd name="connsiteX442" fmla="*/ 5129961 w 9595474"/>
              <a:gd name="connsiteY442" fmla="*/ 4117975 h 6858000"/>
              <a:gd name="connsiteX443" fmla="*/ 5133508 w 9595474"/>
              <a:gd name="connsiteY443" fmla="*/ 4122738 h 6858000"/>
              <a:gd name="connsiteX444" fmla="*/ 5137646 w 9595474"/>
              <a:gd name="connsiteY444" fmla="*/ 4127818 h 6858000"/>
              <a:gd name="connsiteX445" fmla="*/ 5141488 w 9595474"/>
              <a:gd name="connsiteY445" fmla="*/ 4132580 h 6858000"/>
              <a:gd name="connsiteX446" fmla="*/ 5146218 w 9595474"/>
              <a:gd name="connsiteY446" fmla="*/ 4137343 h 6858000"/>
              <a:gd name="connsiteX447" fmla="*/ 5870075 w 9595474"/>
              <a:gd name="connsiteY447" fmla="*/ 4860925 h 6858000"/>
              <a:gd name="connsiteX448" fmla="*/ 5874509 w 9595474"/>
              <a:gd name="connsiteY448" fmla="*/ 4865688 h 6858000"/>
              <a:gd name="connsiteX449" fmla="*/ 5878646 w 9595474"/>
              <a:gd name="connsiteY449" fmla="*/ 4870768 h 6858000"/>
              <a:gd name="connsiteX450" fmla="*/ 5882489 w 9595474"/>
              <a:gd name="connsiteY450" fmla="*/ 4875848 h 6858000"/>
              <a:gd name="connsiteX451" fmla="*/ 5886036 w 9595474"/>
              <a:gd name="connsiteY451" fmla="*/ 4880928 h 6858000"/>
              <a:gd name="connsiteX452" fmla="*/ 5889287 w 9595474"/>
              <a:gd name="connsiteY452" fmla="*/ 4885690 h 6858000"/>
              <a:gd name="connsiteX453" fmla="*/ 5892243 w 9595474"/>
              <a:gd name="connsiteY453" fmla="*/ 4891088 h 6858000"/>
              <a:gd name="connsiteX454" fmla="*/ 5895199 w 9595474"/>
              <a:gd name="connsiteY454" fmla="*/ 4897120 h 6858000"/>
              <a:gd name="connsiteX455" fmla="*/ 5897268 w 9595474"/>
              <a:gd name="connsiteY455" fmla="*/ 4902518 h 6858000"/>
              <a:gd name="connsiteX456" fmla="*/ 5899336 w 9595474"/>
              <a:gd name="connsiteY456" fmla="*/ 4908233 h 6858000"/>
              <a:gd name="connsiteX457" fmla="*/ 5901701 w 9595474"/>
              <a:gd name="connsiteY457" fmla="*/ 4913948 h 6858000"/>
              <a:gd name="connsiteX458" fmla="*/ 5902883 w 9595474"/>
              <a:gd name="connsiteY458" fmla="*/ 4919663 h 6858000"/>
              <a:gd name="connsiteX459" fmla="*/ 5904066 w 9595474"/>
              <a:gd name="connsiteY459" fmla="*/ 4925695 h 6858000"/>
              <a:gd name="connsiteX460" fmla="*/ 5905248 w 9595474"/>
              <a:gd name="connsiteY460" fmla="*/ 4931410 h 6858000"/>
              <a:gd name="connsiteX461" fmla="*/ 5905840 w 9595474"/>
              <a:gd name="connsiteY461" fmla="*/ 4937443 h 6858000"/>
              <a:gd name="connsiteX462" fmla="*/ 5906135 w 9595474"/>
              <a:gd name="connsiteY462" fmla="*/ 4943475 h 6858000"/>
              <a:gd name="connsiteX463" fmla="*/ 5906726 w 9595474"/>
              <a:gd name="connsiteY463" fmla="*/ 4949508 h 6858000"/>
              <a:gd name="connsiteX464" fmla="*/ 5906135 w 9595474"/>
              <a:gd name="connsiteY464" fmla="*/ 4955223 h 6858000"/>
              <a:gd name="connsiteX465" fmla="*/ 5905840 w 9595474"/>
              <a:gd name="connsiteY465" fmla="*/ 4961255 h 6858000"/>
              <a:gd name="connsiteX466" fmla="*/ 5905248 w 9595474"/>
              <a:gd name="connsiteY466" fmla="*/ 4967288 h 6858000"/>
              <a:gd name="connsiteX467" fmla="*/ 5904066 w 9595474"/>
              <a:gd name="connsiteY467" fmla="*/ 4973003 h 6858000"/>
              <a:gd name="connsiteX468" fmla="*/ 5902883 w 9595474"/>
              <a:gd name="connsiteY468" fmla="*/ 4979035 h 6858000"/>
              <a:gd name="connsiteX469" fmla="*/ 5901701 w 9595474"/>
              <a:gd name="connsiteY469" fmla="*/ 4985068 h 6858000"/>
              <a:gd name="connsiteX470" fmla="*/ 5899336 w 9595474"/>
              <a:gd name="connsiteY470" fmla="*/ 4990783 h 6858000"/>
              <a:gd name="connsiteX471" fmla="*/ 5897268 w 9595474"/>
              <a:gd name="connsiteY471" fmla="*/ 4996180 h 6858000"/>
              <a:gd name="connsiteX472" fmla="*/ 5895199 w 9595474"/>
              <a:gd name="connsiteY472" fmla="*/ 5001895 h 6858000"/>
              <a:gd name="connsiteX473" fmla="*/ 5892243 w 9595474"/>
              <a:gd name="connsiteY473" fmla="*/ 5007293 h 6858000"/>
              <a:gd name="connsiteX474" fmla="*/ 5889287 w 9595474"/>
              <a:gd name="connsiteY474" fmla="*/ 5012690 h 6858000"/>
              <a:gd name="connsiteX475" fmla="*/ 5886036 w 9595474"/>
              <a:gd name="connsiteY475" fmla="*/ 5018088 h 6858000"/>
              <a:gd name="connsiteX476" fmla="*/ 5882489 w 9595474"/>
              <a:gd name="connsiteY476" fmla="*/ 5023168 h 6858000"/>
              <a:gd name="connsiteX477" fmla="*/ 5878646 w 9595474"/>
              <a:gd name="connsiteY477" fmla="*/ 5028248 h 6858000"/>
              <a:gd name="connsiteX478" fmla="*/ 5874509 w 9595474"/>
              <a:gd name="connsiteY478" fmla="*/ 5032693 h 6858000"/>
              <a:gd name="connsiteX479" fmla="*/ 5870075 w 9595474"/>
              <a:gd name="connsiteY479" fmla="*/ 5037455 h 6858000"/>
              <a:gd name="connsiteX480" fmla="*/ 5865346 w 9595474"/>
              <a:gd name="connsiteY480" fmla="*/ 5041900 h 6858000"/>
              <a:gd name="connsiteX481" fmla="*/ 5860617 w 9595474"/>
              <a:gd name="connsiteY481" fmla="*/ 5046028 h 6858000"/>
              <a:gd name="connsiteX482" fmla="*/ 5855592 w 9595474"/>
              <a:gd name="connsiteY482" fmla="*/ 5050155 h 6858000"/>
              <a:gd name="connsiteX483" fmla="*/ 5850567 w 9595474"/>
              <a:gd name="connsiteY483" fmla="*/ 5053648 h 6858000"/>
              <a:gd name="connsiteX484" fmla="*/ 5845247 w 9595474"/>
              <a:gd name="connsiteY484" fmla="*/ 5056823 h 6858000"/>
              <a:gd name="connsiteX485" fmla="*/ 5839926 w 9595474"/>
              <a:gd name="connsiteY485" fmla="*/ 5059680 h 6858000"/>
              <a:gd name="connsiteX486" fmla="*/ 5834311 w 9595474"/>
              <a:gd name="connsiteY486" fmla="*/ 5062538 h 6858000"/>
              <a:gd name="connsiteX487" fmla="*/ 5828695 w 9595474"/>
              <a:gd name="connsiteY487" fmla="*/ 5064760 h 6858000"/>
              <a:gd name="connsiteX488" fmla="*/ 5823375 w 9595474"/>
              <a:gd name="connsiteY488" fmla="*/ 5066983 h 6858000"/>
              <a:gd name="connsiteX489" fmla="*/ 5817463 w 9595474"/>
              <a:gd name="connsiteY489" fmla="*/ 5069205 h 6858000"/>
              <a:gd name="connsiteX490" fmla="*/ 5811552 w 9595474"/>
              <a:gd name="connsiteY490" fmla="*/ 5070475 h 6858000"/>
              <a:gd name="connsiteX491" fmla="*/ 5805640 w 9595474"/>
              <a:gd name="connsiteY491" fmla="*/ 5071428 h 6858000"/>
              <a:gd name="connsiteX492" fmla="*/ 5800024 w 9595474"/>
              <a:gd name="connsiteY492" fmla="*/ 5072698 h 6858000"/>
              <a:gd name="connsiteX493" fmla="*/ 5793817 w 9595474"/>
              <a:gd name="connsiteY493" fmla="*/ 5073333 h 6858000"/>
              <a:gd name="connsiteX494" fmla="*/ 5787610 w 9595474"/>
              <a:gd name="connsiteY494" fmla="*/ 5073650 h 6858000"/>
              <a:gd name="connsiteX495" fmla="*/ 5781994 w 9595474"/>
              <a:gd name="connsiteY495" fmla="*/ 5073968 h 6858000"/>
              <a:gd name="connsiteX496" fmla="*/ 5775787 w 9595474"/>
              <a:gd name="connsiteY496" fmla="*/ 5073650 h 6858000"/>
              <a:gd name="connsiteX497" fmla="*/ 5770171 w 9595474"/>
              <a:gd name="connsiteY497" fmla="*/ 5073333 h 6858000"/>
              <a:gd name="connsiteX498" fmla="*/ 5763965 w 9595474"/>
              <a:gd name="connsiteY498" fmla="*/ 5072698 h 6858000"/>
              <a:gd name="connsiteX499" fmla="*/ 5758349 w 9595474"/>
              <a:gd name="connsiteY499" fmla="*/ 5071428 h 6858000"/>
              <a:gd name="connsiteX500" fmla="*/ 5752141 w 9595474"/>
              <a:gd name="connsiteY500" fmla="*/ 5070475 h 6858000"/>
              <a:gd name="connsiteX501" fmla="*/ 5746526 w 9595474"/>
              <a:gd name="connsiteY501" fmla="*/ 5069205 h 6858000"/>
              <a:gd name="connsiteX502" fmla="*/ 5740614 w 9595474"/>
              <a:gd name="connsiteY502" fmla="*/ 5066983 h 6858000"/>
              <a:gd name="connsiteX503" fmla="*/ 5734998 w 9595474"/>
              <a:gd name="connsiteY503" fmla="*/ 5064760 h 6858000"/>
              <a:gd name="connsiteX504" fmla="*/ 5729382 w 9595474"/>
              <a:gd name="connsiteY504" fmla="*/ 5062538 h 6858000"/>
              <a:gd name="connsiteX505" fmla="*/ 5723767 w 9595474"/>
              <a:gd name="connsiteY505" fmla="*/ 5059680 h 6858000"/>
              <a:gd name="connsiteX506" fmla="*/ 5718446 w 9595474"/>
              <a:gd name="connsiteY506" fmla="*/ 5056823 h 6858000"/>
              <a:gd name="connsiteX507" fmla="*/ 5713421 w 9595474"/>
              <a:gd name="connsiteY507" fmla="*/ 5053648 h 6858000"/>
              <a:gd name="connsiteX508" fmla="*/ 5708396 w 9595474"/>
              <a:gd name="connsiteY508" fmla="*/ 5050155 h 6858000"/>
              <a:gd name="connsiteX509" fmla="*/ 5703372 w 9595474"/>
              <a:gd name="connsiteY509" fmla="*/ 5046028 h 6858000"/>
              <a:gd name="connsiteX510" fmla="*/ 5698347 w 9595474"/>
              <a:gd name="connsiteY510" fmla="*/ 5041900 h 6858000"/>
              <a:gd name="connsiteX511" fmla="*/ 5693618 w 9595474"/>
              <a:gd name="connsiteY511" fmla="*/ 5037455 h 6858000"/>
              <a:gd name="connsiteX512" fmla="*/ 5598148 w 9595474"/>
              <a:gd name="connsiteY512" fmla="*/ 4941888 h 6858000"/>
              <a:gd name="connsiteX513" fmla="*/ 5490560 w 9595474"/>
              <a:gd name="connsiteY513" fmla="*/ 4834573 h 6858000"/>
              <a:gd name="connsiteX514" fmla="*/ 5485830 w 9595474"/>
              <a:gd name="connsiteY514" fmla="*/ 4830128 h 6858000"/>
              <a:gd name="connsiteX515" fmla="*/ 5481397 w 9595474"/>
              <a:gd name="connsiteY515" fmla="*/ 4826000 h 6858000"/>
              <a:gd name="connsiteX516" fmla="*/ 5476372 w 9595474"/>
              <a:gd name="connsiteY516" fmla="*/ 4821873 h 6858000"/>
              <a:gd name="connsiteX517" fmla="*/ 5471348 w 9595474"/>
              <a:gd name="connsiteY517" fmla="*/ 4818380 h 6858000"/>
              <a:gd name="connsiteX518" fmla="*/ 5465732 w 9595474"/>
              <a:gd name="connsiteY518" fmla="*/ 4815205 h 6858000"/>
              <a:gd name="connsiteX519" fmla="*/ 5460411 w 9595474"/>
              <a:gd name="connsiteY519" fmla="*/ 4812348 h 6858000"/>
              <a:gd name="connsiteX520" fmla="*/ 5455091 w 9595474"/>
              <a:gd name="connsiteY520" fmla="*/ 4809173 h 6858000"/>
              <a:gd name="connsiteX521" fmla="*/ 5449475 w 9595474"/>
              <a:gd name="connsiteY521" fmla="*/ 4807268 h 6858000"/>
              <a:gd name="connsiteX522" fmla="*/ 5443563 w 9595474"/>
              <a:gd name="connsiteY522" fmla="*/ 4805045 h 6858000"/>
              <a:gd name="connsiteX523" fmla="*/ 5437948 w 9595474"/>
              <a:gd name="connsiteY523" fmla="*/ 4802823 h 6858000"/>
              <a:gd name="connsiteX524" fmla="*/ 5432036 w 9595474"/>
              <a:gd name="connsiteY524" fmla="*/ 4801553 h 6858000"/>
              <a:gd name="connsiteX525" fmla="*/ 5426420 w 9595474"/>
              <a:gd name="connsiteY525" fmla="*/ 4800283 h 6858000"/>
              <a:gd name="connsiteX526" fmla="*/ 5420509 w 9595474"/>
              <a:gd name="connsiteY526" fmla="*/ 4799330 h 6858000"/>
              <a:gd name="connsiteX527" fmla="*/ 5414597 w 9595474"/>
              <a:gd name="connsiteY527" fmla="*/ 4798695 h 6858000"/>
              <a:gd name="connsiteX528" fmla="*/ 5408391 w 9595474"/>
              <a:gd name="connsiteY528" fmla="*/ 4798060 h 6858000"/>
              <a:gd name="connsiteX529" fmla="*/ 5402775 w 9595474"/>
              <a:gd name="connsiteY529" fmla="*/ 4797743 h 6858000"/>
              <a:gd name="connsiteX530" fmla="*/ 5396568 w 9595474"/>
              <a:gd name="connsiteY530" fmla="*/ 4798060 h 6858000"/>
              <a:gd name="connsiteX531" fmla="*/ 5390361 w 9595474"/>
              <a:gd name="connsiteY531" fmla="*/ 4798695 h 6858000"/>
              <a:gd name="connsiteX532" fmla="*/ 5384745 w 9595474"/>
              <a:gd name="connsiteY532" fmla="*/ 4799330 h 6858000"/>
              <a:gd name="connsiteX533" fmla="*/ 5378538 w 9595474"/>
              <a:gd name="connsiteY533" fmla="*/ 4800283 h 6858000"/>
              <a:gd name="connsiteX534" fmla="*/ 5372922 w 9595474"/>
              <a:gd name="connsiteY534" fmla="*/ 4801553 h 6858000"/>
              <a:gd name="connsiteX535" fmla="*/ 5367010 w 9595474"/>
              <a:gd name="connsiteY535" fmla="*/ 4802823 h 6858000"/>
              <a:gd name="connsiteX536" fmla="*/ 5361394 w 9595474"/>
              <a:gd name="connsiteY536" fmla="*/ 4805045 h 6858000"/>
              <a:gd name="connsiteX537" fmla="*/ 5355483 w 9595474"/>
              <a:gd name="connsiteY537" fmla="*/ 4807268 h 6858000"/>
              <a:gd name="connsiteX538" fmla="*/ 5350163 w 9595474"/>
              <a:gd name="connsiteY538" fmla="*/ 4809173 h 6858000"/>
              <a:gd name="connsiteX539" fmla="*/ 5344547 w 9595474"/>
              <a:gd name="connsiteY539" fmla="*/ 4812348 h 6858000"/>
              <a:gd name="connsiteX540" fmla="*/ 5338931 w 9595474"/>
              <a:gd name="connsiteY540" fmla="*/ 4815205 h 6858000"/>
              <a:gd name="connsiteX541" fmla="*/ 5333906 w 9595474"/>
              <a:gd name="connsiteY541" fmla="*/ 4818380 h 6858000"/>
              <a:gd name="connsiteX542" fmla="*/ 5328881 w 9595474"/>
              <a:gd name="connsiteY542" fmla="*/ 4821873 h 6858000"/>
              <a:gd name="connsiteX543" fmla="*/ 5323857 w 9595474"/>
              <a:gd name="connsiteY543" fmla="*/ 4826000 h 6858000"/>
              <a:gd name="connsiteX544" fmla="*/ 5318832 w 9595474"/>
              <a:gd name="connsiteY544" fmla="*/ 4830128 h 6858000"/>
              <a:gd name="connsiteX545" fmla="*/ 5314398 w 9595474"/>
              <a:gd name="connsiteY545" fmla="*/ 4834573 h 6858000"/>
              <a:gd name="connsiteX546" fmla="*/ 5307305 w 9595474"/>
              <a:gd name="connsiteY546" fmla="*/ 4841875 h 6858000"/>
              <a:gd name="connsiteX547" fmla="*/ 5301393 w 9595474"/>
              <a:gd name="connsiteY547" fmla="*/ 4849813 h 6858000"/>
              <a:gd name="connsiteX548" fmla="*/ 5295482 w 9595474"/>
              <a:gd name="connsiteY548" fmla="*/ 4858068 h 6858000"/>
              <a:gd name="connsiteX549" fmla="*/ 5291048 w 9595474"/>
              <a:gd name="connsiteY549" fmla="*/ 4867275 h 6858000"/>
              <a:gd name="connsiteX550" fmla="*/ 5286910 w 9595474"/>
              <a:gd name="connsiteY550" fmla="*/ 4875848 h 6858000"/>
              <a:gd name="connsiteX551" fmla="*/ 5283659 w 9595474"/>
              <a:gd name="connsiteY551" fmla="*/ 4885055 h 6858000"/>
              <a:gd name="connsiteX552" fmla="*/ 5281294 w 9595474"/>
              <a:gd name="connsiteY552" fmla="*/ 4894580 h 6858000"/>
              <a:gd name="connsiteX553" fmla="*/ 5279521 w 9595474"/>
              <a:gd name="connsiteY553" fmla="*/ 4903788 h 6858000"/>
              <a:gd name="connsiteX554" fmla="*/ 5278339 w 9595474"/>
              <a:gd name="connsiteY554" fmla="*/ 4913630 h 6858000"/>
              <a:gd name="connsiteX555" fmla="*/ 5278339 w 9595474"/>
              <a:gd name="connsiteY555" fmla="*/ 4923155 h 6858000"/>
              <a:gd name="connsiteX556" fmla="*/ 5278634 w 9595474"/>
              <a:gd name="connsiteY556" fmla="*/ 4932998 h 6858000"/>
              <a:gd name="connsiteX557" fmla="*/ 5279816 w 9595474"/>
              <a:gd name="connsiteY557" fmla="*/ 4942205 h 6858000"/>
              <a:gd name="connsiteX558" fmla="*/ 5281885 w 9595474"/>
              <a:gd name="connsiteY558" fmla="*/ 4952048 h 6858000"/>
              <a:gd name="connsiteX559" fmla="*/ 5284546 w 9595474"/>
              <a:gd name="connsiteY559" fmla="*/ 4960938 h 6858000"/>
              <a:gd name="connsiteX560" fmla="*/ 5288092 w 9595474"/>
              <a:gd name="connsiteY560" fmla="*/ 4970145 h 6858000"/>
              <a:gd name="connsiteX561" fmla="*/ 5291935 w 9595474"/>
              <a:gd name="connsiteY561" fmla="*/ 4979353 h 6858000"/>
              <a:gd name="connsiteX562" fmla="*/ 5583665 w 9595474"/>
              <a:gd name="connsiteY562" fmla="*/ 5270500 h 6858000"/>
              <a:gd name="connsiteX563" fmla="*/ 5588098 w 9595474"/>
              <a:gd name="connsiteY563" fmla="*/ 5275263 h 6858000"/>
              <a:gd name="connsiteX564" fmla="*/ 5592237 w 9595474"/>
              <a:gd name="connsiteY564" fmla="*/ 5280343 h 6858000"/>
              <a:gd name="connsiteX565" fmla="*/ 5595784 w 9595474"/>
              <a:gd name="connsiteY565" fmla="*/ 5284788 h 6858000"/>
              <a:gd name="connsiteX566" fmla="*/ 5599626 w 9595474"/>
              <a:gd name="connsiteY566" fmla="*/ 5290185 h 6858000"/>
              <a:gd name="connsiteX567" fmla="*/ 5602582 w 9595474"/>
              <a:gd name="connsiteY567" fmla="*/ 5295265 h 6858000"/>
              <a:gd name="connsiteX568" fmla="*/ 5605833 w 9595474"/>
              <a:gd name="connsiteY568" fmla="*/ 5300663 h 6858000"/>
              <a:gd name="connsiteX569" fmla="*/ 5608493 w 9595474"/>
              <a:gd name="connsiteY569" fmla="*/ 5306060 h 6858000"/>
              <a:gd name="connsiteX570" fmla="*/ 5610857 w 9595474"/>
              <a:gd name="connsiteY570" fmla="*/ 5311775 h 6858000"/>
              <a:gd name="connsiteX571" fmla="*/ 5613222 w 9595474"/>
              <a:gd name="connsiteY571" fmla="*/ 5317490 h 6858000"/>
              <a:gd name="connsiteX572" fmla="*/ 5614996 w 9595474"/>
              <a:gd name="connsiteY572" fmla="*/ 5323523 h 6858000"/>
              <a:gd name="connsiteX573" fmla="*/ 5616474 w 9595474"/>
              <a:gd name="connsiteY573" fmla="*/ 5329238 h 6858000"/>
              <a:gd name="connsiteX574" fmla="*/ 5617656 w 9595474"/>
              <a:gd name="connsiteY574" fmla="*/ 5334953 h 6858000"/>
              <a:gd name="connsiteX575" fmla="*/ 5618838 w 9595474"/>
              <a:gd name="connsiteY575" fmla="*/ 5340985 h 6858000"/>
              <a:gd name="connsiteX576" fmla="*/ 5619725 w 9595474"/>
              <a:gd name="connsiteY576" fmla="*/ 5346700 h 6858000"/>
              <a:gd name="connsiteX577" fmla="*/ 5620021 w 9595474"/>
              <a:gd name="connsiteY577" fmla="*/ 5352733 h 6858000"/>
              <a:gd name="connsiteX578" fmla="*/ 5620021 w 9595474"/>
              <a:gd name="connsiteY578" fmla="*/ 5359083 h 6858000"/>
              <a:gd name="connsiteX579" fmla="*/ 5620021 w 9595474"/>
              <a:gd name="connsiteY579" fmla="*/ 5364798 h 6858000"/>
              <a:gd name="connsiteX580" fmla="*/ 5619725 w 9595474"/>
              <a:gd name="connsiteY580" fmla="*/ 5370830 h 6858000"/>
              <a:gd name="connsiteX581" fmla="*/ 5618838 w 9595474"/>
              <a:gd name="connsiteY581" fmla="*/ 5376545 h 6858000"/>
              <a:gd name="connsiteX582" fmla="*/ 5617656 w 9595474"/>
              <a:gd name="connsiteY582" fmla="*/ 5382578 h 6858000"/>
              <a:gd name="connsiteX583" fmla="*/ 5616474 w 9595474"/>
              <a:gd name="connsiteY583" fmla="*/ 5388293 h 6858000"/>
              <a:gd name="connsiteX584" fmla="*/ 5614996 w 9595474"/>
              <a:gd name="connsiteY584" fmla="*/ 5394008 h 6858000"/>
              <a:gd name="connsiteX585" fmla="*/ 5613222 w 9595474"/>
              <a:gd name="connsiteY585" fmla="*/ 5400040 h 6858000"/>
              <a:gd name="connsiteX586" fmla="*/ 5610857 w 9595474"/>
              <a:gd name="connsiteY586" fmla="*/ 5405755 h 6858000"/>
              <a:gd name="connsiteX587" fmla="*/ 5608493 w 9595474"/>
              <a:gd name="connsiteY587" fmla="*/ 5411470 h 6858000"/>
              <a:gd name="connsiteX588" fmla="*/ 5605833 w 9595474"/>
              <a:gd name="connsiteY588" fmla="*/ 5416868 h 6858000"/>
              <a:gd name="connsiteX589" fmla="*/ 5602582 w 9595474"/>
              <a:gd name="connsiteY589" fmla="*/ 5422265 h 6858000"/>
              <a:gd name="connsiteX590" fmla="*/ 5599626 w 9595474"/>
              <a:gd name="connsiteY590" fmla="*/ 5427663 h 6858000"/>
              <a:gd name="connsiteX591" fmla="*/ 5595784 w 9595474"/>
              <a:gd name="connsiteY591" fmla="*/ 5432743 h 6858000"/>
              <a:gd name="connsiteX592" fmla="*/ 5592237 w 9595474"/>
              <a:gd name="connsiteY592" fmla="*/ 5437505 h 6858000"/>
              <a:gd name="connsiteX593" fmla="*/ 5588098 w 9595474"/>
              <a:gd name="connsiteY593" fmla="*/ 5442268 h 6858000"/>
              <a:gd name="connsiteX594" fmla="*/ 5583665 w 9595474"/>
              <a:gd name="connsiteY594" fmla="*/ 5447030 h 6858000"/>
              <a:gd name="connsiteX595" fmla="*/ 5578936 w 9595474"/>
              <a:gd name="connsiteY595" fmla="*/ 5451158 h 6858000"/>
              <a:gd name="connsiteX596" fmla="*/ 5573911 w 9595474"/>
              <a:gd name="connsiteY596" fmla="*/ 5455603 h 6858000"/>
              <a:gd name="connsiteX597" fmla="*/ 5569182 w 9595474"/>
              <a:gd name="connsiteY597" fmla="*/ 5459095 h 6858000"/>
              <a:gd name="connsiteX598" fmla="*/ 5563862 w 9595474"/>
              <a:gd name="connsiteY598" fmla="*/ 5462905 h 6858000"/>
              <a:gd name="connsiteX599" fmla="*/ 5558837 w 9595474"/>
              <a:gd name="connsiteY599" fmla="*/ 5466080 h 6858000"/>
              <a:gd name="connsiteX600" fmla="*/ 5553517 w 9595474"/>
              <a:gd name="connsiteY600" fmla="*/ 5469255 h 6858000"/>
              <a:gd name="connsiteX601" fmla="*/ 5548196 w 9595474"/>
              <a:gd name="connsiteY601" fmla="*/ 5471795 h 6858000"/>
              <a:gd name="connsiteX602" fmla="*/ 5542285 w 9595474"/>
              <a:gd name="connsiteY602" fmla="*/ 5474335 h 6858000"/>
              <a:gd name="connsiteX603" fmla="*/ 5536964 w 9595474"/>
              <a:gd name="connsiteY603" fmla="*/ 5476558 h 6858000"/>
              <a:gd name="connsiteX604" fmla="*/ 5531348 w 9595474"/>
              <a:gd name="connsiteY604" fmla="*/ 5478145 h 6858000"/>
              <a:gd name="connsiteX605" fmla="*/ 5525437 w 9595474"/>
              <a:gd name="connsiteY605" fmla="*/ 5479733 h 6858000"/>
              <a:gd name="connsiteX606" fmla="*/ 5519230 w 9595474"/>
              <a:gd name="connsiteY606" fmla="*/ 5481003 h 6858000"/>
              <a:gd name="connsiteX607" fmla="*/ 5513614 w 9595474"/>
              <a:gd name="connsiteY607" fmla="*/ 5482273 h 6858000"/>
              <a:gd name="connsiteX608" fmla="*/ 5507999 w 9595474"/>
              <a:gd name="connsiteY608" fmla="*/ 5482908 h 6858000"/>
              <a:gd name="connsiteX609" fmla="*/ 5501791 w 9595474"/>
              <a:gd name="connsiteY609" fmla="*/ 5483225 h 6858000"/>
              <a:gd name="connsiteX610" fmla="*/ 5495585 w 9595474"/>
              <a:gd name="connsiteY610" fmla="*/ 5483543 h 6858000"/>
              <a:gd name="connsiteX611" fmla="*/ 6873545 w 9595474"/>
              <a:gd name="connsiteY611" fmla="*/ 6858000 h 6858000"/>
              <a:gd name="connsiteX612" fmla="*/ 9595474 w 9595474"/>
              <a:gd name="connsiteY612" fmla="*/ 6858000 h 6858000"/>
              <a:gd name="connsiteX613" fmla="*/ 9595474 w 9595474"/>
              <a:gd name="connsiteY613" fmla="*/ 0 h 6858000"/>
              <a:gd name="connsiteX0" fmla="*/ 9595474 w 9595474"/>
              <a:gd name="connsiteY0" fmla="*/ 0 h 6858000"/>
              <a:gd name="connsiteX1" fmla="*/ 0 w 9595474"/>
              <a:gd name="connsiteY1" fmla="*/ 0 h 6858000"/>
              <a:gd name="connsiteX2" fmla="*/ 692823 w 9595474"/>
              <a:gd name="connsiteY2" fmla="*/ 691198 h 6858000"/>
              <a:gd name="connsiteX3" fmla="*/ 691345 w 9595474"/>
              <a:gd name="connsiteY3" fmla="*/ 683895 h 6858000"/>
              <a:gd name="connsiteX4" fmla="*/ 690754 w 9595474"/>
              <a:gd name="connsiteY4" fmla="*/ 676275 h 6858000"/>
              <a:gd name="connsiteX5" fmla="*/ 690754 w 9595474"/>
              <a:gd name="connsiteY5" fmla="*/ 669290 h 6858000"/>
              <a:gd name="connsiteX6" fmla="*/ 690754 w 9595474"/>
              <a:gd name="connsiteY6" fmla="*/ 661988 h 6858000"/>
              <a:gd name="connsiteX7" fmla="*/ 691345 w 9595474"/>
              <a:gd name="connsiteY7" fmla="*/ 654368 h 6858000"/>
              <a:gd name="connsiteX8" fmla="*/ 692527 w 9595474"/>
              <a:gd name="connsiteY8" fmla="*/ 647383 h 6858000"/>
              <a:gd name="connsiteX9" fmla="*/ 694005 w 9595474"/>
              <a:gd name="connsiteY9" fmla="*/ 640080 h 6858000"/>
              <a:gd name="connsiteX10" fmla="*/ 695778 w 9595474"/>
              <a:gd name="connsiteY10" fmla="*/ 633095 h 6858000"/>
              <a:gd name="connsiteX11" fmla="*/ 698143 w 9595474"/>
              <a:gd name="connsiteY11" fmla="*/ 625793 h 6858000"/>
              <a:gd name="connsiteX12" fmla="*/ 700803 w 9595474"/>
              <a:gd name="connsiteY12" fmla="*/ 618808 h 6858000"/>
              <a:gd name="connsiteX13" fmla="*/ 704054 w 9595474"/>
              <a:gd name="connsiteY13" fmla="*/ 612140 h 6858000"/>
              <a:gd name="connsiteX14" fmla="*/ 707601 w 9595474"/>
              <a:gd name="connsiteY14" fmla="*/ 605790 h 6858000"/>
              <a:gd name="connsiteX15" fmla="*/ 712035 w 9595474"/>
              <a:gd name="connsiteY15" fmla="*/ 599123 h 6858000"/>
              <a:gd name="connsiteX16" fmla="*/ 716173 w 9595474"/>
              <a:gd name="connsiteY16" fmla="*/ 592773 h 6858000"/>
              <a:gd name="connsiteX17" fmla="*/ 721198 w 9595474"/>
              <a:gd name="connsiteY17" fmla="*/ 587058 h 6858000"/>
              <a:gd name="connsiteX18" fmla="*/ 726518 w 9595474"/>
              <a:gd name="connsiteY18" fmla="*/ 581343 h 6858000"/>
              <a:gd name="connsiteX19" fmla="*/ 731247 w 9595474"/>
              <a:gd name="connsiteY19" fmla="*/ 576898 h 6858000"/>
              <a:gd name="connsiteX20" fmla="*/ 735976 w 9595474"/>
              <a:gd name="connsiteY20" fmla="*/ 572453 h 6858000"/>
              <a:gd name="connsiteX21" fmla="*/ 741001 w 9595474"/>
              <a:gd name="connsiteY21" fmla="*/ 568960 h 6858000"/>
              <a:gd name="connsiteX22" fmla="*/ 746026 w 9595474"/>
              <a:gd name="connsiteY22" fmla="*/ 565468 h 6858000"/>
              <a:gd name="connsiteX23" fmla="*/ 751050 w 9595474"/>
              <a:gd name="connsiteY23" fmla="*/ 562293 h 6858000"/>
              <a:gd name="connsiteX24" fmla="*/ 756371 w 9595474"/>
              <a:gd name="connsiteY24" fmla="*/ 558800 h 6858000"/>
              <a:gd name="connsiteX25" fmla="*/ 761691 w 9595474"/>
              <a:gd name="connsiteY25" fmla="*/ 556578 h 6858000"/>
              <a:gd name="connsiteX26" fmla="*/ 767602 w 9595474"/>
              <a:gd name="connsiteY26" fmla="*/ 554038 h 6858000"/>
              <a:gd name="connsiteX27" fmla="*/ 772923 w 9595474"/>
              <a:gd name="connsiteY27" fmla="*/ 551815 h 6858000"/>
              <a:gd name="connsiteX28" fmla="*/ 778834 w 9595474"/>
              <a:gd name="connsiteY28" fmla="*/ 549910 h 6858000"/>
              <a:gd name="connsiteX29" fmla="*/ 784450 w 9595474"/>
              <a:gd name="connsiteY29" fmla="*/ 548640 h 6858000"/>
              <a:gd name="connsiteX30" fmla="*/ 790066 w 9595474"/>
              <a:gd name="connsiteY30" fmla="*/ 547370 h 6858000"/>
              <a:gd name="connsiteX31" fmla="*/ 795977 w 9595474"/>
              <a:gd name="connsiteY31" fmla="*/ 546418 h 6858000"/>
              <a:gd name="connsiteX32" fmla="*/ 802184 w 9595474"/>
              <a:gd name="connsiteY32" fmla="*/ 545783 h 6858000"/>
              <a:gd name="connsiteX33" fmla="*/ 807800 w 9595474"/>
              <a:gd name="connsiteY33" fmla="*/ 545465 h 6858000"/>
              <a:gd name="connsiteX34" fmla="*/ 814007 w 9595474"/>
              <a:gd name="connsiteY34" fmla="*/ 544830 h 6858000"/>
              <a:gd name="connsiteX35" fmla="*/ 819623 w 9595474"/>
              <a:gd name="connsiteY35" fmla="*/ 545465 h 6858000"/>
              <a:gd name="connsiteX36" fmla="*/ 825830 w 9595474"/>
              <a:gd name="connsiteY36" fmla="*/ 545783 h 6858000"/>
              <a:gd name="connsiteX37" fmla="*/ 831446 w 9595474"/>
              <a:gd name="connsiteY37" fmla="*/ 546418 h 6858000"/>
              <a:gd name="connsiteX38" fmla="*/ 837358 w 9595474"/>
              <a:gd name="connsiteY38" fmla="*/ 547370 h 6858000"/>
              <a:gd name="connsiteX39" fmla="*/ 842974 w 9595474"/>
              <a:gd name="connsiteY39" fmla="*/ 548640 h 6858000"/>
              <a:gd name="connsiteX40" fmla="*/ 848885 w 9595474"/>
              <a:gd name="connsiteY40" fmla="*/ 549910 h 6858000"/>
              <a:gd name="connsiteX41" fmla="*/ 854501 w 9595474"/>
              <a:gd name="connsiteY41" fmla="*/ 551815 h 6858000"/>
              <a:gd name="connsiteX42" fmla="*/ 860117 w 9595474"/>
              <a:gd name="connsiteY42" fmla="*/ 554038 h 6858000"/>
              <a:gd name="connsiteX43" fmla="*/ 865733 w 9595474"/>
              <a:gd name="connsiteY43" fmla="*/ 556578 h 6858000"/>
              <a:gd name="connsiteX44" fmla="*/ 871053 w 9595474"/>
              <a:gd name="connsiteY44" fmla="*/ 558800 h 6858000"/>
              <a:gd name="connsiteX45" fmla="*/ 876373 w 9595474"/>
              <a:gd name="connsiteY45" fmla="*/ 562293 h 6858000"/>
              <a:gd name="connsiteX46" fmla="*/ 881398 w 9595474"/>
              <a:gd name="connsiteY46" fmla="*/ 565468 h 6858000"/>
              <a:gd name="connsiteX47" fmla="*/ 886718 w 9595474"/>
              <a:gd name="connsiteY47" fmla="*/ 568960 h 6858000"/>
              <a:gd name="connsiteX48" fmla="*/ 891447 w 9595474"/>
              <a:gd name="connsiteY48" fmla="*/ 572453 h 6858000"/>
              <a:gd name="connsiteX49" fmla="*/ 896177 w 9595474"/>
              <a:gd name="connsiteY49" fmla="*/ 576898 h 6858000"/>
              <a:gd name="connsiteX50" fmla="*/ 900906 w 9595474"/>
              <a:gd name="connsiteY50" fmla="*/ 581343 h 6858000"/>
              <a:gd name="connsiteX51" fmla="*/ 1431459 w 9595474"/>
              <a:gd name="connsiteY51" fmla="*/ 1111568 h 6858000"/>
              <a:gd name="connsiteX52" fmla="*/ 2394731 w 9595474"/>
              <a:gd name="connsiteY52" fmla="*/ 2074863 h 6858000"/>
              <a:gd name="connsiteX53" fmla="*/ 2399164 w 9595474"/>
              <a:gd name="connsiteY53" fmla="*/ 2079308 h 6858000"/>
              <a:gd name="connsiteX54" fmla="*/ 2404189 w 9595474"/>
              <a:gd name="connsiteY54" fmla="*/ 2083435 h 6858000"/>
              <a:gd name="connsiteX55" fmla="*/ 2408918 w 9595474"/>
              <a:gd name="connsiteY55" fmla="*/ 2087245 h 6858000"/>
              <a:gd name="connsiteX56" fmla="*/ 2413943 w 9595474"/>
              <a:gd name="connsiteY56" fmla="*/ 2090738 h 6858000"/>
              <a:gd name="connsiteX57" fmla="*/ 2419263 w 9595474"/>
              <a:gd name="connsiteY57" fmla="*/ 2093913 h 6858000"/>
              <a:gd name="connsiteX58" fmla="*/ 2424583 w 9595474"/>
              <a:gd name="connsiteY58" fmla="*/ 2096770 h 6858000"/>
              <a:gd name="connsiteX59" fmla="*/ 2430199 w 9595474"/>
              <a:gd name="connsiteY59" fmla="*/ 2099628 h 6858000"/>
              <a:gd name="connsiteX60" fmla="*/ 2435520 w 9595474"/>
              <a:gd name="connsiteY60" fmla="*/ 2101850 h 6858000"/>
              <a:gd name="connsiteX61" fmla="*/ 2441136 w 9595474"/>
              <a:gd name="connsiteY61" fmla="*/ 2104073 h 6858000"/>
              <a:gd name="connsiteX62" fmla="*/ 2447047 w 9595474"/>
              <a:gd name="connsiteY62" fmla="*/ 2105660 h 6858000"/>
              <a:gd name="connsiteX63" fmla="*/ 2452663 w 9595474"/>
              <a:gd name="connsiteY63" fmla="*/ 2107565 h 6858000"/>
              <a:gd name="connsiteX64" fmla="*/ 2458574 w 9595474"/>
              <a:gd name="connsiteY64" fmla="*/ 2108518 h 6858000"/>
              <a:gd name="connsiteX65" fmla="*/ 2464190 w 9595474"/>
              <a:gd name="connsiteY65" fmla="*/ 2109788 h 6858000"/>
              <a:gd name="connsiteX66" fmla="*/ 2469806 w 9595474"/>
              <a:gd name="connsiteY66" fmla="*/ 2110423 h 6858000"/>
              <a:gd name="connsiteX67" fmla="*/ 2476013 w 9595474"/>
              <a:gd name="connsiteY67" fmla="*/ 2110740 h 6858000"/>
              <a:gd name="connsiteX68" fmla="*/ 2481925 w 9595474"/>
              <a:gd name="connsiteY68" fmla="*/ 2111058 h 6858000"/>
              <a:gd name="connsiteX69" fmla="*/ 2487836 w 9595474"/>
              <a:gd name="connsiteY69" fmla="*/ 2110740 h 6858000"/>
              <a:gd name="connsiteX70" fmla="*/ 2493747 w 9595474"/>
              <a:gd name="connsiteY70" fmla="*/ 2110423 h 6858000"/>
              <a:gd name="connsiteX71" fmla="*/ 2499363 w 9595474"/>
              <a:gd name="connsiteY71" fmla="*/ 2109788 h 6858000"/>
              <a:gd name="connsiteX72" fmla="*/ 2505570 w 9595474"/>
              <a:gd name="connsiteY72" fmla="*/ 2108518 h 6858000"/>
              <a:gd name="connsiteX73" fmla="*/ 2511186 w 9595474"/>
              <a:gd name="connsiteY73" fmla="*/ 2107565 h 6858000"/>
              <a:gd name="connsiteX74" fmla="*/ 2517098 w 9595474"/>
              <a:gd name="connsiteY74" fmla="*/ 2105660 h 6858000"/>
              <a:gd name="connsiteX75" fmla="*/ 2522714 w 9595474"/>
              <a:gd name="connsiteY75" fmla="*/ 2104073 h 6858000"/>
              <a:gd name="connsiteX76" fmla="*/ 2528034 w 9595474"/>
              <a:gd name="connsiteY76" fmla="*/ 2101850 h 6858000"/>
              <a:gd name="connsiteX77" fmla="*/ 2533945 w 9595474"/>
              <a:gd name="connsiteY77" fmla="*/ 2099628 h 6858000"/>
              <a:gd name="connsiteX78" fmla="*/ 2539266 w 9595474"/>
              <a:gd name="connsiteY78" fmla="*/ 2096770 h 6858000"/>
              <a:gd name="connsiteX79" fmla="*/ 2544290 w 9595474"/>
              <a:gd name="connsiteY79" fmla="*/ 2093913 h 6858000"/>
              <a:gd name="connsiteX80" fmla="*/ 2549611 w 9595474"/>
              <a:gd name="connsiteY80" fmla="*/ 2090738 h 6858000"/>
              <a:gd name="connsiteX81" fmla="*/ 2554635 w 9595474"/>
              <a:gd name="connsiteY81" fmla="*/ 2087245 h 6858000"/>
              <a:gd name="connsiteX82" fmla="*/ 2559660 w 9595474"/>
              <a:gd name="connsiteY82" fmla="*/ 2083435 h 6858000"/>
              <a:gd name="connsiteX83" fmla="*/ 2564389 w 9595474"/>
              <a:gd name="connsiteY83" fmla="*/ 2079308 h 6858000"/>
              <a:gd name="connsiteX84" fmla="*/ 2569119 w 9595474"/>
              <a:gd name="connsiteY84" fmla="*/ 2074863 h 6858000"/>
              <a:gd name="connsiteX85" fmla="*/ 2573257 w 9595474"/>
              <a:gd name="connsiteY85" fmla="*/ 2070100 h 6858000"/>
              <a:gd name="connsiteX86" fmla="*/ 2577395 w 9595474"/>
              <a:gd name="connsiteY86" fmla="*/ 2065655 h 6858000"/>
              <a:gd name="connsiteX87" fmla="*/ 2581237 w 9595474"/>
              <a:gd name="connsiteY87" fmla="*/ 2060575 h 6858000"/>
              <a:gd name="connsiteX88" fmla="*/ 2584784 w 9595474"/>
              <a:gd name="connsiteY88" fmla="*/ 2055495 h 6858000"/>
              <a:gd name="connsiteX89" fmla="*/ 2588035 w 9595474"/>
              <a:gd name="connsiteY89" fmla="*/ 2050415 h 6858000"/>
              <a:gd name="connsiteX90" fmla="*/ 2590991 w 9595474"/>
              <a:gd name="connsiteY90" fmla="*/ 2045018 h 6858000"/>
              <a:gd name="connsiteX91" fmla="*/ 2593651 w 9595474"/>
              <a:gd name="connsiteY91" fmla="*/ 2039620 h 6858000"/>
              <a:gd name="connsiteX92" fmla="*/ 2596016 w 9595474"/>
              <a:gd name="connsiteY92" fmla="*/ 2034223 h 6858000"/>
              <a:gd name="connsiteX93" fmla="*/ 2598085 w 9595474"/>
              <a:gd name="connsiteY93" fmla="*/ 2028508 h 6858000"/>
              <a:gd name="connsiteX94" fmla="*/ 2599858 w 9595474"/>
              <a:gd name="connsiteY94" fmla="*/ 2022793 h 6858000"/>
              <a:gd name="connsiteX95" fmla="*/ 2601336 w 9595474"/>
              <a:gd name="connsiteY95" fmla="*/ 2017078 h 6858000"/>
              <a:gd name="connsiteX96" fmla="*/ 2602814 w 9595474"/>
              <a:gd name="connsiteY96" fmla="*/ 2011363 h 6858000"/>
              <a:gd name="connsiteX97" fmla="*/ 2603996 w 9595474"/>
              <a:gd name="connsiteY97" fmla="*/ 2005648 h 6858000"/>
              <a:gd name="connsiteX98" fmla="*/ 2604587 w 9595474"/>
              <a:gd name="connsiteY98" fmla="*/ 1999615 h 6858000"/>
              <a:gd name="connsiteX99" fmla="*/ 2604883 w 9595474"/>
              <a:gd name="connsiteY99" fmla="*/ 1993583 h 6858000"/>
              <a:gd name="connsiteX100" fmla="*/ 2604883 w 9595474"/>
              <a:gd name="connsiteY100" fmla="*/ 1987550 h 6858000"/>
              <a:gd name="connsiteX101" fmla="*/ 2604883 w 9595474"/>
              <a:gd name="connsiteY101" fmla="*/ 1981835 h 6858000"/>
              <a:gd name="connsiteX102" fmla="*/ 2604587 w 9595474"/>
              <a:gd name="connsiteY102" fmla="*/ 1976120 h 6858000"/>
              <a:gd name="connsiteX103" fmla="*/ 2603996 w 9595474"/>
              <a:gd name="connsiteY103" fmla="*/ 1970088 h 6858000"/>
              <a:gd name="connsiteX104" fmla="*/ 2602814 w 9595474"/>
              <a:gd name="connsiteY104" fmla="*/ 1964373 h 6858000"/>
              <a:gd name="connsiteX105" fmla="*/ 2601336 w 9595474"/>
              <a:gd name="connsiteY105" fmla="*/ 1958658 h 6858000"/>
              <a:gd name="connsiteX106" fmla="*/ 2599858 w 9595474"/>
              <a:gd name="connsiteY106" fmla="*/ 1952625 h 6858000"/>
              <a:gd name="connsiteX107" fmla="*/ 2598085 w 9595474"/>
              <a:gd name="connsiteY107" fmla="*/ 1946910 h 6858000"/>
              <a:gd name="connsiteX108" fmla="*/ 2596016 w 9595474"/>
              <a:gd name="connsiteY108" fmla="*/ 1941195 h 6858000"/>
              <a:gd name="connsiteX109" fmla="*/ 2593651 w 9595474"/>
              <a:gd name="connsiteY109" fmla="*/ 1935798 h 6858000"/>
              <a:gd name="connsiteX110" fmla="*/ 2590991 w 9595474"/>
              <a:gd name="connsiteY110" fmla="*/ 1930400 h 6858000"/>
              <a:gd name="connsiteX111" fmla="*/ 2588035 w 9595474"/>
              <a:gd name="connsiteY111" fmla="*/ 1925003 h 6858000"/>
              <a:gd name="connsiteX112" fmla="*/ 2584784 w 9595474"/>
              <a:gd name="connsiteY112" fmla="*/ 1919923 h 6858000"/>
              <a:gd name="connsiteX113" fmla="*/ 2581237 w 9595474"/>
              <a:gd name="connsiteY113" fmla="*/ 1915160 h 6858000"/>
              <a:gd name="connsiteX114" fmla="*/ 2577395 w 9595474"/>
              <a:gd name="connsiteY114" fmla="*/ 1910080 h 6858000"/>
              <a:gd name="connsiteX115" fmla="*/ 2573257 w 9595474"/>
              <a:gd name="connsiteY115" fmla="*/ 1905318 h 6858000"/>
              <a:gd name="connsiteX116" fmla="*/ 2569119 w 9595474"/>
              <a:gd name="connsiteY116" fmla="*/ 1900555 h 6858000"/>
              <a:gd name="connsiteX117" fmla="*/ 1590477 w 9595474"/>
              <a:gd name="connsiteY117" fmla="*/ 922020 h 6858000"/>
              <a:gd name="connsiteX118" fmla="*/ 1272736 w 9595474"/>
              <a:gd name="connsiteY118" fmla="*/ 604203 h 6858000"/>
              <a:gd name="connsiteX119" fmla="*/ 1268303 w 9595474"/>
              <a:gd name="connsiteY119" fmla="*/ 599440 h 6858000"/>
              <a:gd name="connsiteX120" fmla="*/ 1264165 w 9595474"/>
              <a:gd name="connsiteY120" fmla="*/ 594995 h 6858000"/>
              <a:gd name="connsiteX121" fmla="*/ 1260322 w 9595474"/>
              <a:gd name="connsiteY121" fmla="*/ 589915 h 6858000"/>
              <a:gd name="connsiteX122" fmla="*/ 1256776 w 9595474"/>
              <a:gd name="connsiteY122" fmla="*/ 584835 h 6858000"/>
              <a:gd name="connsiteX123" fmla="*/ 1253524 w 9595474"/>
              <a:gd name="connsiteY123" fmla="*/ 579755 h 6858000"/>
              <a:gd name="connsiteX124" fmla="*/ 1250864 w 9595474"/>
              <a:gd name="connsiteY124" fmla="*/ 574358 h 6858000"/>
              <a:gd name="connsiteX125" fmla="*/ 1247908 w 9595474"/>
              <a:gd name="connsiteY125" fmla="*/ 568960 h 6858000"/>
              <a:gd name="connsiteX126" fmla="*/ 1245839 w 9595474"/>
              <a:gd name="connsiteY126" fmla="*/ 563563 h 6858000"/>
              <a:gd name="connsiteX127" fmla="*/ 1243475 w 9595474"/>
              <a:gd name="connsiteY127" fmla="*/ 557848 h 6858000"/>
              <a:gd name="connsiteX128" fmla="*/ 1241701 w 9595474"/>
              <a:gd name="connsiteY128" fmla="*/ 552133 h 6858000"/>
              <a:gd name="connsiteX129" fmla="*/ 1239928 w 9595474"/>
              <a:gd name="connsiteY129" fmla="*/ 546418 h 6858000"/>
              <a:gd name="connsiteX130" fmla="*/ 1238746 w 9595474"/>
              <a:gd name="connsiteY130" fmla="*/ 540703 h 6858000"/>
              <a:gd name="connsiteX131" fmla="*/ 1237859 w 9595474"/>
              <a:gd name="connsiteY131" fmla="*/ 534988 h 6858000"/>
              <a:gd name="connsiteX132" fmla="*/ 1236972 w 9595474"/>
              <a:gd name="connsiteY132" fmla="*/ 528638 h 6858000"/>
              <a:gd name="connsiteX133" fmla="*/ 1236677 w 9595474"/>
              <a:gd name="connsiteY133" fmla="*/ 522923 h 6858000"/>
              <a:gd name="connsiteX134" fmla="*/ 1236381 w 9595474"/>
              <a:gd name="connsiteY134" fmla="*/ 516890 h 6858000"/>
              <a:gd name="connsiteX135" fmla="*/ 1236677 w 9595474"/>
              <a:gd name="connsiteY135" fmla="*/ 511175 h 6858000"/>
              <a:gd name="connsiteX136" fmla="*/ 1236972 w 9595474"/>
              <a:gd name="connsiteY136" fmla="*/ 505460 h 6858000"/>
              <a:gd name="connsiteX137" fmla="*/ 1237859 w 9595474"/>
              <a:gd name="connsiteY137" fmla="*/ 499428 h 6858000"/>
              <a:gd name="connsiteX138" fmla="*/ 1238746 w 9595474"/>
              <a:gd name="connsiteY138" fmla="*/ 493713 h 6858000"/>
              <a:gd name="connsiteX139" fmla="*/ 1239928 w 9595474"/>
              <a:gd name="connsiteY139" fmla="*/ 487680 h 6858000"/>
              <a:gd name="connsiteX140" fmla="*/ 1241701 w 9595474"/>
              <a:gd name="connsiteY140" fmla="*/ 481965 h 6858000"/>
              <a:gd name="connsiteX141" fmla="*/ 1243475 w 9595474"/>
              <a:gd name="connsiteY141" fmla="*/ 476250 h 6858000"/>
              <a:gd name="connsiteX142" fmla="*/ 1245839 w 9595474"/>
              <a:gd name="connsiteY142" fmla="*/ 470535 h 6858000"/>
              <a:gd name="connsiteX143" fmla="*/ 1247908 w 9595474"/>
              <a:gd name="connsiteY143" fmla="*/ 465138 h 6858000"/>
              <a:gd name="connsiteX144" fmla="*/ 1250864 w 9595474"/>
              <a:gd name="connsiteY144" fmla="*/ 459740 h 6858000"/>
              <a:gd name="connsiteX145" fmla="*/ 1253524 w 9595474"/>
              <a:gd name="connsiteY145" fmla="*/ 454343 h 6858000"/>
              <a:gd name="connsiteX146" fmla="*/ 1256776 w 9595474"/>
              <a:gd name="connsiteY146" fmla="*/ 449263 h 6858000"/>
              <a:gd name="connsiteX147" fmla="*/ 1260322 w 9595474"/>
              <a:gd name="connsiteY147" fmla="*/ 444500 h 6858000"/>
              <a:gd name="connsiteX148" fmla="*/ 1264165 w 9595474"/>
              <a:gd name="connsiteY148" fmla="*/ 439420 h 6858000"/>
              <a:gd name="connsiteX149" fmla="*/ 1268303 w 9595474"/>
              <a:gd name="connsiteY149" fmla="*/ 434658 h 6858000"/>
              <a:gd name="connsiteX150" fmla="*/ 1272736 w 9595474"/>
              <a:gd name="connsiteY150" fmla="*/ 429895 h 6858000"/>
              <a:gd name="connsiteX151" fmla="*/ 1277466 w 9595474"/>
              <a:gd name="connsiteY151" fmla="*/ 425768 h 6858000"/>
              <a:gd name="connsiteX152" fmla="*/ 1281899 w 9595474"/>
              <a:gd name="connsiteY152" fmla="*/ 421323 h 6858000"/>
              <a:gd name="connsiteX153" fmla="*/ 1286924 w 9595474"/>
              <a:gd name="connsiteY153" fmla="*/ 417830 h 6858000"/>
              <a:gd name="connsiteX154" fmla="*/ 1291949 w 9595474"/>
              <a:gd name="connsiteY154" fmla="*/ 414338 h 6858000"/>
              <a:gd name="connsiteX155" fmla="*/ 1296973 w 9595474"/>
              <a:gd name="connsiteY155" fmla="*/ 410845 h 6858000"/>
              <a:gd name="connsiteX156" fmla="*/ 1302589 w 9595474"/>
              <a:gd name="connsiteY156" fmla="*/ 407988 h 6858000"/>
              <a:gd name="connsiteX157" fmla="*/ 1307910 w 9595474"/>
              <a:gd name="connsiteY157" fmla="*/ 405130 h 6858000"/>
              <a:gd name="connsiteX158" fmla="*/ 1313230 w 9595474"/>
              <a:gd name="connsiteY158" fmla="*/ 402908 h 6858000"/>
              <a:gd name="connsiteX159" fmla="*/ 1318846 w 9595474"/>
              <a:gd name="connsiteY159" fmla="*/ 401003 h 6858000"/>
              <a:gd name="connsiteX160" fmla="*/ 1324757 w 9595474"/>
              <a:gd name="connsiteY160" fmla="*/ 399098 h 6858000"/>
              <a:gd name="connsiteX161" fmla="*/ 1330373 w 9595474"/>
              <a:gd name="connsiteY161" fmla="*/ 397193 h 6858000"/>
              <a:gd name="connsiteX162" fmla="*/ 1336285 w 9595474"/>
              <a:gd name="connsiteY162" fmla="*/ 396240 h 6858000"/>
              <a:gd name="connsiteX163" fmla="*/ 1341901 w 9595474"/>
              <a:gd name="connsiteY163" fmla="*/ 395288 h 6858000"/>
              <a:gd name="connsiteX164" fmla="*/ 1348108 w 9595474"/>
              <a:gd name="connsiteY164" fmla="*/ 394335 h 6858000"/>
              <a:gd name="connsiteX165" fmla="*/ 1353723 w 9595474"/>
              <a:gd name="connsiteY165" fmla="*/ 394018 h 6858000"/>
              <a:gd name="connsiteX166" fmla="*/ 1359930 w 9595474"/>
              <a:gd name="connsiteY166" fmla="*/ 393700 h 6858000"/>
              <a:gd name="connsiteX167" fmla="*/ 1365546 w 9595474"/>
              <a:gd name="connsiteY167" fmla="*/ 394018 h 6858000"/>
              <a:gd name="connsiteX168" fmla="*/ 1371458 w 9595474"/>
              <a:gd name="connsiteY168" fmla="*/ 394335 h 6858000"/>
              <a:gd name="connsiteX169" fmla="*/ 1377665 w 9595474"/>
              <a:gd name="connsiteY169" fmla="*/ 395288 h 6858000"/>
              <a:gd name="connsiteX170" fmla="*/ 1383281 w 9595474"/>
              <a:gd name="connsiteY170" fmla="*/ 396240 h 6858000"/>
              <a:gd name="connsiteX171" fmla="*/ 1388897 w 9595474"/>
              <a:gd name="connsiteY171" fmla="*/ 397193 h 6858000"/>
              <a:gd name="connsiteX172" fmla="*/ 1394808 w 9595474"/>
              <a:gd name="connsiteY172" fmla="*/ 399098 h 6858000"/>
              <a:gd name="connsiteX173" fmla="*/ 1400424 w 9595474"/>
              <a:gd name="connsiteY173" fmla="*/ 401003 h 6858000"/>
              <a:gd name="connsiteX174" fmla="*/ 1406335 w 9595474"/>
              <a:gd name="connsiteY174" fmla="*/ 402908 h 6858000"/>
              <a:gd name="connsiteX175" fmla="*/ 1411656 w 9595474"/>
              <a:gd name="connsiteY175" fmla="*/ 405130 h 6858000"/>
              <a:gd name="connsiteX176" fmla="*/ 1416976 w 9595474"/>
              <a:gd name="connsiteY176" fmla="*/ 407988 h 6858000"/>
              <a:gd name="connsiteX177" fmla="*/ 1422296 w 9595474"/>
              <a:gd name="connsiteY177" fmla="*/ 410845 h 6858000"/>
              <a:gd name="connsiteX178" fmla="*/ 1427617 w 9595474"/>
              <a:gd name="connsiteY178" fmla="*/ 414338 h 6858000"/>
              <a:gd name="connsiteX179" fmla="*/ 1432641 w 9595474"/>
              <a:gd name="connsiteY179" fmla="*/ 417830 h 6858000"/>
              <a:gd name="connsiteX180" fmla="*/ 1437666 w 9595474"/>
              <a:gd name="connsiteY180" fmla="*/ 421323 h 6858000"/>
              <a:gd name="connsiteX181" fmla="*/ 1442100 w 9595474"/>
              <a:gd name="connsiteY181" fmla="*/ 425768 h 6858000"/>
              <a:gd name="connsiteX182" fmla="*/ 1446829 w 9595474"/>
              <a:gd name="connsiteY182" fmla="*/ 429895 h 6858000"/>
              <a:gd name="connsiteX183" fmla="*/ 1907036 w 9595474"/>
              <a:gd name="connsiteY183" fmla="*/ 890270 h 6858000"/>
              <a:gd name="connsiteX184" fmla="*/ 2165662 w 9595474"/>
              <a:gd name="connsiteY184" fmla="*/ 1148715 h 6858000"/>
              <a:gd name="connsiteX185" fmla="*/ 2170391 w 9595474"/>
              <a:gd name="connsiteY185" fmla="*/ 1153160 h 6858000"/>
              <a:gd name="connsiteX186" fmla="*/ 2175416 w 9595474"/>
              <a:gd name="connsiteY186" fmla="*/ 1157288 h 6858000"/>
              <a:gd name="connsiteX187" fmla="*/ 2180145 w 9595474"/>
              <a:gd name="connsiteY187" fmla="*/ 1161098 h 6858000"/>
              <a:gd name="connsiteX188" fmla="*/ 2185170 w 9595474"/>
              <a:gd name="connsiteY188" fmla="*/ 1164590 h 6858000"/>
              <a:gd name="connsiteX189" fmla="*/ 2190490 w 9595474"/>
              <a:gd name="connsiteY189" fmla="*/ 1167765 h 6858000"/>
              <a:gd name="connsiteX190" fmla="*/ 2195810 w 9595474"/>
              <a:gd name="connsiteY190" fmla="*/ 1170623 h 6858000"/>
              <a:gd name="connsiteX191" fmla="*/ 2201130 w 9595474"/>
              <a:gd name="connsiteY191" fmla="*/ 1173480 h 6858000"/>
              <a:gd name="connsiteX192" fmla="*/ 2206746 w 9595474"/>
              <a:gd name="connsiteY192" fmla="*/ 1176020 h 6858000"/>
              <a:gd name="connsiteX193" fmla="*/ 2212362 w 9595474"/>
              <a:gd name="connsiteY193" fmla="*/ 1177925 h 6858000"/>
              <a:gd name="connsiteX194" fmla="*/ 2217683 w 9595474"/>
              <a:gd name="connsiteY194" fmla="*/ 1180148 h 6858000"/>
              <a:gd name="connsiteX195" fmla="*/ 2223594 w 9595474"/>
              <a:gd name="connsiteY195" fmla="*/ 1181418 h 6858000"/>
              <a:gd name="connsiteX196" fmla="*/ 2229505 w 9595474"/>
              <a:gd name="connsiteY196" fmla="*/ 1182688 h 6858000"/>
              <a:gd name="connsiteX197" fmla="*/ 2235417 w 9595474"/>
              <a:gd name="connsiteY197" fmla="*/ 1183640 h 6858000"/>
              <a:gd name="connsiteX198" fmla="*/ 2241033 w 9595474"/>
              <a:gd name="connsiteY198" fmla="*/ 1184275 h 6858000"/>
              <a:gd name="connsiteX199" fmla="*/ 2247240 w 9595474"/>
              <a:gd name="connsiteY199" fmla="*/ 1184593 h 6858000"/>
              <a:gd name="connsiteX200" fmla="*/ 2252856 w 9595474"/>
              <a:gd name="connsiteY200" fmla="*/ 1185228 h 6858000"/>
              <a:gd name="connsiteX201" fmla="*/ 2259063 w 9595474"/>
              <a:gd name="connsiteY201" fmla="*/ 1184593 h 6858000"/>
              <a:gd name="connsiteX202" fmla="*/ 2264679 w 9595474"/>
              <a:gd name="connsiteY202" fmla="*/ 1184275 h 6858000"/>
              <a:gd name="connsiteX203" fmla="*/ 2270590 w 9595474"/>
              <a:gd name="connsiteY203" fmla="*/ 1183640 h 6858000"/>
              <a:gd name="connsiteX204" fmla="*/ 2276797 w 9595474"/>
              <a:gd name="connsiteY204" fmla="*/ 1182688 h 6858000"/>
              <a:gd name="connsiteX205" fmla="*/ 2282413 w 9595474"/>
              <a:gd name="connsiteY205" fmla="*/ 1181418 h 6858000"/>
              <a:gd name="connsiteX206" fmla="*/ 2288029 w 9595474"/>
              <a:gd name="connsiteY206" fmla="*/ 1180148 h 6858000"/>
              <a:gd name="connsiteX207" fmla="*/ 2293940 w 9595474"/>
              <a:gd name="connsiteY207" fmla="*/ 1177925 h 6858000"/>
              <a:gd name="connsiteX208" fmla="*/ 2299261 w 9595474"/>
              <a:gd name="connsiteY208" fmla="*/ 1176020 h 6858000"/>
              <a:gd name="connsiteX209" fmla="*/ 2304581 w 9595474"/>
              <a:gd name="connsiteY209" fmla="*/ 1173480 h 6858000"/>
              <a:gd name="connsiteX210" fmla="*/ 2310492 w 9595474"/>
              <a:gd name="connsiteY210" fmla="*/ 1170623 h 6858000"/>
              <a:gd name="connsiteX211" fmla="*/ 2315517 w 9595474"/>
              <a:gd name="connsiteY211" fmla="*/ 1167765 h 6858000"/>
              <a:gd name="connsiteX212" fmla="*/ 2320837 w 9595474"/>
              <a:gd name="connsiteY212" fmla="*/ 1164590 h 6858000"/>
              <a:gd name="connsiteX213" fmla="*/ 2325862 w 9595474"/>
              <a:gd name="connsiteY213" fmla="*/ 1161098 h 6858000"/>
              <a:gd name="connsiteX214" fmla="*/ 2330887 w 9595474"/>
              <a:gd name="connsiteY214" fmla="*/ 1157288 h 6858000"/>
              <a:gd name="connsiteX215" fmla="*/ 2335616 w 9595474"/>
              <a:gd name="connsiteY215" fmla="*/ 1153160 h 6858000"/>
              <a:gd name="connsiteX216" fmla="*/ 2340345 w 9595474"/>
              <a:gd name="connsiteY216" fmla="*/ 1148715 h 6858000"/>
              <a:gd name="connsiteX217" fmla="*/ 2344483 w 9595474"/>
              <a:gd name="connsiteY217" fmla="*/ 1144270 h 6858000"/>
              <a:gd name="connsiteX218" fmla="*/ 2348621 w 9595474"/>
              <a:gd name="connsiteY218" fmla="*/ 1139508 h 6858000"/>
              <a:gd name="connsiteX219" fmla="*/ 2352464 w 9595474"/>
              <a:gd name="connsiteY219" fmla="*/ 1134428 h 6858000"/>
              <a:gd name="connsiteX220" fmla="*/ 2356011 w 9595474"/>
              <a:gd name="connsiteY220" fmla="*/ 1129348 h 6858000"/>
              <a:gd name="connsiteX221" fmla="*/ 2359262 w 9595474"/>
              <a:gd name="connsiteY221" fmla="*/ 1124268 h 6858000"/>
              <a:gd name="connsiteX222" fmla="*/ 2362218 w 9595474"/>
              <a:gd name="connsiteY222" fmla="*/ 1118870 h 6858000"/>
              <a:gd name="connsiteX223" fmla="*/ 2364582 w 9595474"/>
              <a:gd name="connsiteY223" fmla="*/ 1113473 h 6858000"/>
              <a:gd name="connsiteX224" fmla="*/ 2367242 w 9595474"/>
              <a:gd name="connsiteY224" fmla="*/ 1108075 h 6858000"/>
              <a:gd name="connsiteX225" fmla="*/ 2369311 w 9595474"/>
              <a:gd name="connsiteY225" fmla="*/ 1102360 h 6858000"/>
              <a:gd name="connsiteX226" fmla="*/ 2371085 w 9595474"/>
              <a:gd name="connsiteY226" fmla="*/ 1096645 h 6858000"/>
              <a:gd name="connsiteX227" fmla="*/ 2372563 w 9595474"/>
              <a:gd name="connsiteY227" fmla="*/ 1090930 h 6858000"/>
              <a:gd name="connsiteX228" fmla="*/ 2374041 w 9595474"/>
              <a:gd name="connsiteY228" fmla="*/ 1085215 h 6858000"/>
              <a:gd name="connsiteX229" fmla="*/ 2375223 w 9595474"/>
              <a:gd name="connsiteY229" fmla="*/ 1079500 h 6858000"/>
              <a:gd name="connsiteX230" fmla="*/ 2375814 w 9595474"/>
              <a:gd name="connsiteY230" fmla="*/ 1073785 h 6858000"/>
              <a:gd name="connsiteX231" fmla="*/ 2376110 w 9595474"/>
              <a:gd name="connsiteY231" fmla="*/ 1067753 h 6858000"/>
              <a:gd name="connsiteX232" fmla="*/ 2376110 w 9595474"/>
              <a:gd name="connsiteY232" fmla="*/ 1061720 h 6858000"/>
              <a:gd name="connsiteX233" fmla="*/ 2376110 w 9595474"/>
              <a:gd name="connsiteY233" fmla="*/ 1055688 h 6858000"/>
              <a:gd name="connsiteX234" fmla="*/ 2375814 w 9595474"/>
              <a:gd name="connsiteY234" fmla="*/ 1049973 h 6858000"/>
              <a:gd name="connsiteX235" fmla="*/ 2375223 w 9595474"/>
              <a:gd name="connsiteY235" fmla="*/ 1043940 h 6858000"/>
              <a:gd name="connsiteX236" fmla="*/ 2374041 w 9595474"/>
              <a:gd name="connsiteY236" fmla="*/ 1038225 h 6858000"/>
              <a:gd name="connsiteX237" fmla="*/ 2372563 w 9595474"/>
              <a:gd name="connsiteY237" fmla="*/ 1032510 h 6858000"/>
              <a:gd name="connsiteX238" fmla="*/ 2371085 w 9595474"/>
              <a:gd name="connsiteY238" fmla="*/ 1026795 h 6858000"/>
              <a:gd name="connsiteX239" fmla="*/ 2369311 w 9595474"/>
              <a:gd name="connsiteY239" fmla="*/ 1021080 h 6858000"/>
              <a:gd name="connsiteX240" fmla="*/ 2367242 w 9595474"/>
              <a:gd name="connsiteY240" fmla="*/ 1015683 h 6858000"/>
              <a:gd name="connsiteX241" fmla="*/ 2364582 w 9595474"/>
              <a:gd name="connsiteY241" fmla="*/ 1009650 h 6858000"/>
              <a:gd name="connsiteX242" fmla="*/ 2362218 w 9595474"/>
              <a:gd name="connsiteY242" fmla="*/ 1004253 h 6858000"/>
              <a:gd name="connsiteX243" fmla="*/ 2359262 w 9595474"/>
              <a:gd name="connsiteY243" fmla="*/ 998855 h 6858000"/>
              <a:gd name="connsiteX244" fmla="*/ 2356011 w 9595474"/>
              <a:gd name="connsiteY244" fmla="*/ 994093 h 6858000"/>
              <a:gd name="connsiteX245" fmla="*/ 2352464 w 9595474"/>
              <a:gd name="connsiteY245" fmla="*/ 989013 h 6858000"/>
              <a:gd name="connsiteX246" fmla="*/ 2348621 w 9595474"/>
              <a:gd name="connsiteY246" fmla="*/ 983933 h 6858000"/>
              <a:gd name="connsiteX247" fmla="*/ 2344483 w 9595474"/>
              <a:gd name="connsiteY247" fmla="*/ 979170 h 6858000"/>
              <a:gd name="connsiteX248" fmla="*/ 2340345 w 9595474"/>
              <a:gd name="connsiteY248" fmla="*/ 974725 h 6858000"/>
              <a:gd name="connsiteX249" fmla="*/ 2240737 w 9595474"/>
              <a:gd name="connsiteY249" fmla="*/ 875030 h 6858000"/>
              <a:gd name="connsiteX250" fmla="*/ 1991865 w 9595474"/>
              <a:gd name="connsiteY250" fmla="*/ 626428 h 6858000"/>
              <a:gd name="connsiteX251" fmla="*/ 1987431 w 9595474"/>
              <a:gd name="connsiteY251" fmla="*/ 621665 h 6858000"/>
              <a:gd name="connsiteX252" fmla="*/ 1983589 w 9595474"/>
              <a:gd name="connsiteY252" fmla="*/ 616903 h 6858000"/>
              <a:gd name="connsiteX253" fmla="*/ 1979451 w 9595474"/>
              <a:gd name="connsiteY253" fmla="*/ 612140 h 6858000"/>
              <a:gd name="connsiteX254" fmla="*/ 1975904 w 9595474"/>
              <a:gd name="connsiteY254" fmla="*/ 607060 h 6858000"/>
              <a:gd name="connsiteX255" fmla="*/ 1972653 w 9595474"/>
              <a:gd name="connsiteY255" fmla="*/ 601663 h 6858000"/>
              <a:gd name="connsiteX256" fmla="*/ 1969993 w 9595474"/>
              <a:gd name="connsiteY256" fmla="*/ 596265 h 6858000"/>
              <a:gd name="connsiteX257" fmla="*/ 1967037 w 9595474"/>
              <a:gd name="connsiteY257" fmla="*/ 590868 h 6858000"/>
              <a:gd name="connsiteX258" fmla="*/ 1964968 w 9595474"/>
              <a:gd name="connsiteY258" fmla="*/ 585470 h 6858000"/>
              <a:gd name="connsiteX259" fmla="*/ 1962603 w 9595474"/>
              <a:gd name="connsiteY259" fmla="*/ 579755 h 6858000"/>
              <a:gd name="connsiteX260" fmla="*/ 1960830 w 9595474"/>
              <a:gd name="connsiteY260" fmla="*/ 574358 h 6858000"/>
              <a:gd name="connsiteX261" fmla="*/ 1959056 w 9595474"/>
              <a:gd name="connsiteY261" fmla="*/ 568643 h 6858000"/>
              <a:gd name="connsiteX262" fmla="*/ 1958170 w 9595474"/>
              <a:gd name="connsiteY262" fmla="*/ 562610 h 6858000"/>
              <a:gd name="connsiteX263" fmla="*/ 1956987 w 9595474"/>
              <a:gd name="connsiteY263" fmla="*/ 556895 h 6858000"/>
              <a:gd name="connsiteX264" fmla="*/ 1956396 w 9595474"/>
              <a:gd name="connsiteY264" fmla="*/ 551180 h 6858000"/>
              <a:gd name="connsiteX265" fmla="*/ 1955805 w 9595474"/>
              <a:gd name="connsiteY265" fmla="*/ 544830 h 6858000"/>
              <a:gd name="connsiteX266" fmla="*/ 1955805 w 9595474"/>
              <a:gd name="connsiteY266" fmla="*/ 539115 h 6858000"/>
              <a:gd name="connsiteX267" fmla="*/ 1955805 w 9595474"/>
              <a:gd name="connsiteY267" fmla="*/ 533083 h 6858000"/>
              <a:gd name="connsiteX268" fmla="*/ 1956396 w 9595474"/>
              <a:gd name="connsiteY268" fmla="*/ 527368 h 6858000"/>
              <a:gd name="connsiteX269" fmla="*/ 1956987 w 9595474"/>
              <a:gd name="connsiteY269" fmla="*/ 521653 h 6858000"/>
              <a:gd name="connsiteX270" fmla="*/ 1958170 w 9595474"/>
              <a:gd name="connsiteY270" fmla="*/ 515620 h 6858000"/>
              <a:gd name="connsiteX271" fmla="*/ 1959056 w 9595474"/>
              <a:gd name="connsiteY271" fmla="*/ 509588 h 6858000"/>
              <a:gd name="connsiteX272" fmla="*/ 1960830 w 9595474"/>
              <a:gd name="connsiteY272" fmla="*/ 503873 h 6858000"/>
              <a:gd name="connsiteX273" fmla="*/ 1962603 w 9595474"/>
              <a:gd name="connsiteY273" fmla="*/ 498158 h 6858000"/>
              <a:gd name="connsiteX274" fmla="*/ 1964968 w 9595474"/>
              <a:gd name="connsiteY274" fmla="*/ 492760 h 6858000"/>
              <a:gd name="connsiteX275" fmla="*/ 1967037 w 9595474"/>
              <a:gd name="connsiteY275" fmla="*/ 487363 h 6858000"/>
              <a:gd name="connsiteX276" fmla="*/ 1969993 w 9595474"/>
              <a:gd name="connsiteY276" fmla="*/ 481648 h 6858000"/>
              <a:gd name="connsiteX277" fmla="*/ 1972653 w 9595474"/>
              <a:gd name="connsiteY277" fmla="*/ 476568 h 6858000"/>
              <a:gd name="connsiteX278" fmla="*/ 1975904 w 9595474"/>
              <a:gd name="connsiteY278" fmla="*/ 471170 h 6858000"/>
              <a:gd name="connsiteX279" fmla="*/ 1979451 w 9595474"/>
              <a:gd name="connsiteY279" fmla="*/ 466408 h 6858000"/>
              <a:gd name="connsiteX280" fmla="*/ 1983589 w 9595474"/>
              <a:gd name="connsiteY280" fmla="*/ 461328 h 6858000"/>
              <a:gd name="connsiteX281" fmla="*/ 1987431 w 9595474"/>
              <a:gd name="connsiteY281" fmla="*/ 456565 h 6858000"/>
              <a:gd name="connsiteX282" fmla="*/ 1991865 w 9595474"/>
              <a:gd name="connsiteY282" fmla="*/ 451803 h 6858000"/>
              <a:gd name="connsiteX283" fmla="*/ 1996594 w 9595474"/>
              <a:gd name="connsiteY283" fmla="*/ 447675 h 6858000"/>
              <a:gd name="connsiteX284" fmla="*/ 2001028 w 9595474"/>
              <a:gd name="connsiteY284" fmla="*/ 443548 h 6858000"/>
              <a:gd name="connsiteX285" fmla="*/ 2006052 w 9595474"/>
              <a:gd name="connsiteY285" fmla="*/ 439738 h 6858000"/>
              <a:gd name="connsiteX286" fmla="*/ 2011077 w 9595474"/>
              <a:gd name="connsiteY286" fmla="*/ 436245 h 6858000"/>
              <a:gd name="connsiteX287" fmla="*/ 2016102 w 9595474"/>
              <a:gd name="connsiteY287" fmla="*/ 432753 h 6858000"/>
              <a:gd name="connsiteX288" fmla="*/ 2021718 w 9595474"/>
              <a:gd name="connsiteY288" fmla="*/ 429895 h 6858000"/>
              <a:gd name="connsiteX289" fmla="*/ 2027038 w 9595474"/>
              <a:gd name="connsiteY289" fmla="*/ 427355 h 6858000"/>
              <a:gd name="connsiteX290" fmla="*/ 2032654 w 9595474"/>
              <a:gd name="connsiteY290" fmla="*/ 424815 h 6858000"/>
              <a:gd name="connsiteX291" fmla="*/ 2038270 w 9595474"/>
              <a:gd name="connsiteY291" fmla="*/ 422910 h 6858000"/>
              <a:gd name="connsiteX292" fmla="*/ 2043886 w 9595474"/>
              <a:gd name="connsiteY292" fmla="*/ 421005 h 6858000"/>
              <a:gd name="connsiteX293" fmla="*/ 2049502 w 9595474"/>
              <a:gd name="connsiteY293" fmla="*/ 419735 h 6858000"/>
              <a:gd name="connsiteX294" fmla="*/ 2055413 w 9595474"/>
              <a:gd name="connsiteY294" fmla="*/ 418148 h 6858000"/>
              <a:gd name="connsiteX295" fmla="*/ 2061029 w 9595474"/>
              <a:gd name="connsiteY295" fmla="*/ 417195 h 6858000"/>
              <a:gd name="connsiteX296" fmla="*/ 2067236 w 9595474"/>
              <a:gd name="connsiteY296" fmla="*/ 416243 h 6858000"/>
              <a:gd name="connsiteX297" fmla="*/ 2072852 w 9595474"/>
              <a:gd name="connsiteY297" fmla="*/ 415925 h 6858000"/>
              <a:gd name="connsiteX298" fmla="*/ 2079059 w 9595474"/>
              <a:gd name="connsiteY298" fmla="*/ 415925 h 6858000"/>
              <a:gd name="connsiteX299" fmla="*/ 2084970 w 9595474"/>
              <a:gd name="connsiteY299" fmla="*/ 415925 h 6858000"/>
              <a:gd name="connsiteX300" fmla="*/ 2090882 w 9595474"/>
              <a:gd name="connsiteY300" fmla="*/ 416243 h 6858000"/>
              <a:gd name="connsiteX301" fmla="*/ 2096793 w 9595474"/>
              <a:gd name="connsiteY301" fmla="*/ 417195 h 6858000"/>
              <a:gd name="connsiteX302" fmla="*/ 2102409 w 9595474"/>
              <a:gd name="connsiteY302" fmla="*/ 418148 h 6858000"/>
              <a:gd name="connsiteX303" fmla="*/ 2108321 w 9595474"/>
              <a:gd name="connsiteY303" fmla="*/ 419735 h 6858000"/>
              <a:gd name="connsiteX304" fmla="*/ 2113936 w 9595474"/>
              <a:gd name="connsiteY304" fmla="*/ 421005 h 6858000"/>
              <a:gd name="connsiteX305" fmla="*/ 2119552 w 9595474"/>
              <a:gd name="connsiteY305" fmla="*/ 422910 h 6858000"/>
              <a:gd name="connsiteX306" fmla="*/ 2125464 w 9595474"/>
              <a:gd name="connsiteY306" fmla="*/ 424815 h 6858000"/>
              <a:gd name="connsiteX307" fmla="*/ 2130784 w 9595474"/>
              <a:gd name="connsiteY307" fmla="*/ 427355 h 6858000"/>
              <a:gd name="connsiteX308" fmla="*/ 2136104 w 9595474"/>
              <a:gd name="connsiteY308" fmla="*/ 429895 h 6858000"/>
              <a:gd name="connsiteX309" fmla="*/ 2141720 w 9595474"/>
              <a:gd name="connsiteY309" fmla="*/ 432753 h 6858000"/>
              <a:gd name="connsiteX310" fmla="*/ 2146745 w 9595474"/>
              <a:gd name="connsiteY310" fmla="*/ 436245 h 6858000"/>
              <a:gd name="connsiteX311" fmla="*/ 2152065 w 9595474"/>
              <a:gd name="connsiteY311" fmla="*/ 439738 h 6858000"/>
              <a:gd name="connsiteX312" fmla="*/ 2156795 w 9595474"/>
              <a:gd name="connsiteY312" fmla="*/ 443548 h 6858000"/>
              <a:gd name="connsiteX313" fmla="*/ 2161819 w 9595474"/>
              <a:gd name="connsiteY313" fmla="*/ 447675 h 6858000"/>
              <a:gd name="connsiteX314" fmla="*/ 2165957 w 9595474"/>
              <a:gd name="connsiteY314" fmla="*/ 451803 h 6858000"/>
              <a:gd name="connsiteX315" fmla="*/ 2966073 w 9595474"/>
              <a:gd name="connsiteY315" fmla="*/ 1251903 h 6858000"/>
              <a:gd name="connsiteX316" fmla="*/ 5612631 w 9595474"/>
              <a:gd name="connsiteY316" fmla="*/ 3898583 h 6858000"/>
              <a:gd name="connsiteX317" fmla="*/ 5617360 w 9595474"/>
              <a:gd name="connsiteY317" fmla="*/ 3903345 h 6858000"/>
              <a:gd name="connsiteX318" fmla="*/ 5621498 w 9595474"/>
              <a:gd name="connsiteY318" fmla="*/ 3908425 h 6858000"/>
              <a:gd name="connsiteX319" fmla="*/ 5625341 w 9595474"/>
              <a:gd name="connsiteY319" fmla="*/ 3913505 h 6858000"/>
              <a:gd name="connsiteX320" fmla="*/ 5628888 w 9595474"/>
              <a:gd name="connsiteY320" fmla="*/ 3918585 h 6858000"/>
              <a:gd name="connsiteX321" fmla="*/ 5632139 w 9595474"/>
              <a:gd name="connsiteY321" fmla="*/ 3923348 h 6858000"/>
              <a:gd name="connsiteX322" fmla="*/ 5635094 w 9595474"/>
              <a:gd name="connsiteY322" fmla="*/ 3928745 h 6858000"/>
              <a:gd name="connsiteX323" fmla="*/ 5638050 w 9595474"/>
              <a:gd name="connsiteY323" fmla="*/ 3934460 h 6858000"/>
              <a:gd name="connsiteX324" fmla="*/ 5640415 w 9595474"/>
              <a:gd name="connsiteY324" fmla="*/ 3939858 h 6858000"/>
              <a:gd name="connsiteX325" fmla="*/ 5642484 w 9595474"/>
              <a:gd name="connsiteY325" fmla="*/ 3945890 h 6858000"/>
              <a:gd name="connsiteX326" fmla="*/ 5644257 w 9595474"/>
              <a:gd name="connsiteY326" fmla="*/ 3951605 h 6858000"/>
              <a:gd name="connsiteX327" fmla="*/ 5645735 w 9595474"/>
              <a:gd name="connsiteY327" fmla="*/ 3957320 h 6858000"/>
              <a:gd name="connsiteX328" fmla="*/ 5647213 w 9595474"/>
              <a:gd name="connsiteY328" fmla="*/ 3963353 h 6858000"/>
              <a:gd name="connsiteX329" fmla="*/ 5648100 w 9595474"/>
              <a:gd name="connsiteY329" fmla="*/ 3969068 h 6858000"/>
              <a:gd name="connsiteX330" fmla="*/ 5648691 w 9595474"/>
              <a:gd name="connsiteY330" fmla="*/ 3975100 h 6858000"/>
              <a:gd name="connsiteX331" fmla="*/ 5649282 w 9595474"/>
              <a:gd name="connsiteY331" fmla="*/ 3980815 h 6858000"/>
              <a:gd name="connsiteX332" fmla="*/ 5649282 w 9595474"/>
              <a:gd name="connsiteY332" fmla="*/ 3987165 h 6858000"/>
              <a:gd name="connsiteX333" fmla="*/ 5649282 w 9595474"/>
              <a:gd name="connsiteY333" fmla="*/ 3992880 h 6858000"/>
              <a:gd name="connsiteX334" fmla="*/ 5648691 w 9595474"/>
              <a:gd name="connsiteY334" fmla="*/ 3998913 h 6858000"/>
              <a:gd name="connsiteX335" fmla="*/ 5648100 w 9595474"/>
              <a:gd name="connsiteY335" fmla="*/ 4004945 h 6858000"/>
              <a:gd name="connsiteX336" fmla="*/ 5647213 w 9595474"/>
              <a:gd name="connsiteY336" fmla="*/ 4010660 h 6858000"/>
              <a:gd name="connsiteX337" fmla="*/ 5645735 w 9595474"/>
              <a:gd name="connsiteY337" fmla="*/ 4016375 h 6858000"/>
              <a:gd name="connsiteX338" fmla="*/ 5644257 w 9595474"/>
              <a:gd name="connsiteY338" fmla="*/ 4022725 h 6858000"/>
              <a:gd name="connsiteX339" fmla="*/ 5642484 w 9595474"/>
              <a:gd name="connsiteY339" fmla="*/ 4028440 h 6858000"/>
              <a:gd name="connsiteX340" fmla="*/ 5640415 w 9595474"/>
              <a:gd name="connsiteY340" fmla="*/ 4033838 h 6858000"/>
              <a:gd name="connsiteX341" fmla="*/ 5638050 w 9595474"/>
              <a:gd name="connsiteY341" fmla="*/ 4039553 h 6858000"/>
              <a:gd name="connsiteX342" fmla="*/ 5635094 w 9595474"/>
              <a:gd name="connsiteY342" fmla="*/ 4044950 h 6858000"/>
              <a:gd name="connsiteX343" fmla="*/ 5632139 w 9595474"/>
              <a:gd name="connsiteY343" fmla="*/ 4050348 h 6858000"/>
              <a:gd name="connsiteX344" fmla="*/ 5628888 w 9595474"/>
              <a:gd name="connsiteY344" fmla="*/ 4055745 h 6858000"/>
              <a:gd name="connsiteX345" fmla="*/ 5625341 w 9595474"/>
              <a:gd name="connsiteY345" fmla="*/ 4060825 h 6858000"/>
              <a:gd name="connsiteX346" fmla="*/ 5621498 w 9595474"/>
              <a:gd name="connsiteY346" fmla="*/ 4065588 h 6858000"/>
              <a:gd name="connsiteX347" fmla="*/ 5617360 w 9595474"/>
              <a:gd name="connsiteY347" fmla="*/ 4070350 h 6858000"/>
              <a:gd name="connsiteX348" fmla="*/ 5612631 w 9595474"/>
              <a:gd name="connsiteY348" fmla="*/ 4075113 h 6858000"/>
              <a:gd name="connsiteX349" fmla="*/ 5608198 w 9595474"/>
              <a:gd name="connsiteY349" fmla="*/ 4079875 h 6858000"/>
              <a:gd name="connsiteX350" fmla="*/ 5603468 w 9595474"/>
              <a:gd name="connsiteY350" fmla="*/ 4083685 h 6858000"/>
              <a:gd name="connsiteX351" fmla="*/ 5598443 w 9595474"/>
              <a:gd name="connsiteY351" fmla="*/ 4087495 h 6858000"/>
              <a:gd name="connsiteX352" fmla="*/ 5593419 w 9595474"/>
              <a:gd name="connsiteY352" fmla="*/ 4091305 h 6858000"/>
              <a:gd name="connsiteX353" fmla="*/ 5588098 w 9595474"/>
              <a:gd name="connsiteY353" fmla="*/ 4094480 h 6858000"/>
              <a:gd name="connsiteX354" fmla="*/ 5582482 w 9595474"/>
              <a:gd name="connsiteY354" fmla="*/ 4097338 h 6858000"/>
              <a:gd name="connsiteX355" fmla="*/ 5577162 w 9595474"/>
              <a:gd name="connsiteY355" fmla="*/ 4100195 h 6858000"/>
              <a:gd name="connsiteX356" fmla="*/ 5571842 w 9595474"/>
              <a:gd name="connsiteY356" fmla="*/ 4102418 h 6858000"/>
              <a:gd name="connsiteX357" fmla="*/ 5565931 w 9595474"/>
              <a:gd name="connsiteY357" fmla="*/ 4104640 h 6858000"/>
              <a:gd name="connsiteX358" fmla="*/ 5560315 w 9595474"/>
              <a:gd name="connsiteY358" fmla="*/ 4106545 h 6858000"/>
              <a:gd name="connsiteX359" fmla="*/ 5554699 w 9595474"/>
              <a:gd name="connsiteY359" fmla="*/ 4108133 h 6858000"/>
              <a:gd name="connsiteX360" fmla="*/ 5548492 w 9595474"/>
              <a:gd name="connsiteY360" fmla="*/ 4109403 h 6858000"/>
              <a:gd name="connsiteX361" fmla="*/ 5542580 w 9595474"/>
              <a:gd name="connsiteY361" fmla="*/ 4110355 h 6858000"/>
              <a:gd name="connsiteX362" fmla="*/ 5536669 w 9595474"/>
              <a:gd name="connsiteY362" fmla="*/ 4110990 h 6858000"/>
              <a:gd name="connsiteX363" fmla="*/ 5530758 w 9595474"/>
              <a:gd name="connsiteY363" fmla="*/ 4111308 h 6858000"/>
              <a:gd name="connsiteX364" fmla="*/ 5524846 w 9595474"/>
              <a:gd name="connsiteY364" fmla="*/ 4111625 h 6858000"/>
              <a:gd name="connsiteX365" fmla="*/ 5518639 w 9595474"/>
              <a:gd name="connsiteY365" fmla="*/ 4111308 h 6858000"/>
              <a:gd name="connsiteX366" fmla="*/ 5513023 w 9595474"/>
              <a:gd name="connsiteY366" fmla="*/ 4110990 h 6858000"/>
              <a:gd name="connsiteX367" fmla="*/ 5506816 w 9595474"/>
              <a:gd name="connsiteY367" fmla="*/ 4110355 h 6858000"/>
              <a:gd name="connsiteX368" fmla="*/ 5501200 w 9595474"/>
              <a:gd name="connsiteY368" fmla="*/ 4109403 h 6858000"/>
              <a:gd name="connsiteX369" fmla="*/ 5494993 w 9595474"/>
              <a:gd name="connsiteY369" fmla="*/ 4108133 h 6858000"/>
              <a:gd name="connsiteX370" fmla="*/ 5489081 w 9595474"/>
              <a:gd name="connsiteY370" fmla="*/ 4106545 h 6858000"/>
              <a:gd name="connsiteX371" fmla="*/ 5483466 w 9595474"/>
              <a:gd name="connsiteY371" fmla="*/ 4104640 h 6858000"/>
              <a:gd name="connsiteX372" fmla="*/ 5477850 w 9595474"/>
              <a:gd name="connsiteY372" fmla="*/ 4102418 h 6858000"/>
              <a:gd name="connsiteX373" fmla="*/ 5472234 w 9595474"/>
              <a:gd name="connsiteY373" fmla="*/ 4100195 h 6858000"/>
              <a:gd name="connsiteX374" fmla="*/ 5466913 w 9595474"/>
              <a:gd name="connsiteY374" fmla="*/ 4097338 h 6858000"/>
              <a:gd name="connsiteX375" fmla="*/ 5461593 w 9595474"/>
              <a:gd name="connsiteY375" fmla="*/ 4094480 h 6858000"/>
              <a:gd name="connsiteX376" fmla="*/ 5456273 w 9595474"/>
              <a:gd name="connsiteY376" fmla="*/ 4091305 h 6858000"/>
              <a:gd name="connsiteX377" fmla="*/ 5451248 w 9595474"/>
              <a:gd name="connsiteY377" fmla="*/ 4087495 h 6858000"/>
              <a:gd name="connsiteX378" fmla="*/ 5446223 w 9595474"/>
              <a:gd name="connsiteY378" fmla="*/ 4083685 h 6858000"/>
              <a:gd name="connsiteX379" fmla="*/ 5441495 w 9595474"/>
              <a:gd name="connsiteY379" fmla="*/ 4079875 h 6858000"/>
              <a:gd name="connsiteX380" fmla="*/ 5436765 w 9595474"/>
              <a:gd name="connsiteY380" fmla="*/ 4075113 h 6858000"/>
              <a:gd name="connsiteX381" fmla="*/ 5322379 w 9595474"/>
              <a:gd name="connsiteY381" fmla="*/ 3960813 h 6858000"/>
              <a:gd name="connsiteX382" fmla="*/ 5317945 w 9595474"/>
              <a:gd name="connsiteY382" fmla="*/ 3956368 h 6858000"/>
              <a:gd name="connsiteX383" fmla="*/ 5312921 w 9595474"/>
              <a:gd name="connsiteY383" fmla="*/ 3952240 h 6858000"/>
              <a:gd name="connsiteX384" fmla="*/ 5307896 w 9595474"/>
              <a:gd name="connsiteY384" fmla="*/ 3948748 h 6858000"/>
              <a:gd name="connsiteX385" fmla="*/ 5302871 w 9595474"/>
              <a:gd name="connsiteY385" fmla="*/ 3944938 h 6858000"/>
              <a:gd name="connsiteX386" fmla="*/ 5297255 w 9595474"/>
              <a:gd name="connsiteY386" fmla="*/ 3941763 h 6858000"/>
              <a:gd name="connsiteX387" fmla="*/ 5292230 w 9595474"/>
              <a:gd name="connsiteY387" fmla="*/ 3938588 h 6858000"/>
              <a:gd name="connsiteX388" fmla="*/ 5286615 w 9595474"/>
              <a:gd name="connsiteY388" fmla="*/ 3936048 h 6858000"/>
              <a:gd name="connsiteX389" fmla="*/ 5281294 w 9595474"/>
              <a:gd name="connsiteY389" fmla="*/ 3933508 h 6858000"/>
              <a:gd name="connsiteX390" fmla="*/ 5275383 w 9595474"/>
              <a:gd name="connsiteY390" fmla="*/ 3931285 h 6858000"/>
              <a:gd name="connsiteX391" fmla="*/ 5269767 w 9595474"/>
              <a:gd name="connsiteY391" fmla="*/ 3929698 h 6858000"/>
              <a:gd name="connsiteX392" fmla="*/ 5263855 w 9595474"/>
              <a:gd name="connsiteY392" fmla="*/ 3927793 h 6858000"/>
              <a:gd name="connsiteX393" fmla="*/ 5257944 w 9595474"/>
              <a:gd name="connsiteY393" fmla="*/ 3926840 h 6858000"/>
              <a:gd name="connsiteX394" fmla="*/ 5252033 w 9595474"/>
              <a:gd name="connsiteY394" fmla="*/ 3925570 h 6858000"/>
              <a:gd name="connsiteX395" fmla="*/ 5246121 w 9595474"/>
              <a:gd name="connsiteY395" fmla="*/ 3924935 h 6858000"/>
              <a:gd name="connsiteX396" fmla="*/ 5240210 w 9595474"/>
              <a:gd name="connsiteY396" fmla="*/ 3924618 h 6858000"/>
              <a:gd name="connsiteX397" fmla="*/ 5234298 w 9595474"/>
              <a:gd name="connsiteY397" fmla="*/ 3924618 h 6858000"/>
              <a:gd name="connsiteX398" fmla="*/ 5228091 w 9595474"/>
              <a:gd name="connsiteY398" fmla="*/ 3924618 h 6858000"/>
              <a:gd name="connsiteX399" fmla="*/ 5222180 w 9595474"/>
              <a:gd name="connsiteY399" fmla="*/ 3924935 h 6858000"/>
              <a:gd name="connsiteX400" fmla="*/ 5216268 w 9595474"/>
              <a:gd name="connsiteY400" fmla="*/ 3925570 h 6858000"/>
              <a:gd name="connsiteX401" fmla="*/ 5210357 w 9595474"/>
              <a:gd name="connsiteY401" fmla="*/ 3926840 h 6858000"/>
              <a:gd name="connsiteX402" fmla="*/ 5204741 w 9595474"/>
              <a:gd name="connsiteY402" fmla="*/ 3927793 h 6858000"/>
              <a:gd name="connsiteX403" fmla="*/ 5198534 w 9595474"/>
              <a:gd name="connsiteY403" fmla="*/ 3929698 h 6858000"/>
              <a:gd name="connsiteX404" fmla="*/ 5192918 w 9595474"/>
              <a:gd name="connsiteY404" fmla="*/ 3931285 h 6858000"/>
              <a:gd name="connsiteX405" fmla="*/ 5187598 w 9595474"/>
              <a:gd name="connsiteY405" fmla="*/ 3933508 h 6858000"/>
              <a:gd name="connsiteX406" fmla="*/ 5181686 w 9595474"/>
              <a:gd name="connsiteY406" fmla="*/ 3936048 h 6858000"/>
              <a:gd name="connsiteX407" fmla="*/ 5176366 w 9595474"/>
              <a:gd name="connsiteY407" fmla="*/ 3938588 h 6858000"/>
              <a:gd name="connsiteX408" fmla="*/ 5171046 w 9595474"/>
              <a:gd name="connsiteY408" fmla="*/ 3941763 h 6858000"/>
              <a:gd name="connsiteX409" fmla="*/ 5165430 w 9595474"/>
              <a:gd name="connsiteY409" fmla="*/ 3944938 h 6858000"/>
              <a:gd name="connsiteX410" fmla="*/ 5160405 w 9595474"/>
              <a:gd name="connsiteY410" fmla="*/ 3948748 h 6858000"/>
              <a:gd name="connsiteX411" fmla="*/ 5155380 w 9595474"/>
              <a:gd name="connsiteY411" fmla="*/ 3952240 h 6858000"/>
              <a:gd name="connsiteX412" fmla="*/ 5150947 w 9595474"/>
              <a:gd name="connsiteY412" fmla="*/ 3956368 h 6858000"/>
              <a:gd name="connsiteX413" fmla="*/ 5146218 w 9595474"/>
              <a:gd name="connsiteY413" fmla="*/ 3960813 h 6858000"/>
              <a:gd name="connsiteX414" fmla="*/ 5141488 w 9595474"/>
              <a:gd name="connsiteY414" fmla="*/ 3965575 h 6858000"/>
              <a:gd name="connsiteX415" fmla="*/ 5137646 w 9595474"/>
              <a:gd name="connsiteY415" fmla="*/ 3970655 h 6858000"/>
              <a:gd name="connsiteX416" fmla="*/ 5133508 w 9595474"/>
              <a:gd name="connsiteY416" fmla="*/ 3975100 h 6858000"/>
              <a:gd name="connsiteX417" fmla="*/ 5129961 w 9595474"/>
              <a:gd name="connsiteY417" fmla="*/ 3980498 h 6858000"/>
              <a:gd name="connsiteX418" fmla="*/ 5126710 w 9595474"/>
              <a:gd name="connsiteY418" fmla="*/ 3985578 h 6858000"/>
              <a:gd name="connsiteX419" fmla="*/ 5123754 w 9595474"/>
              <a:gd name="connsiteY419" fmla="*/ 3990975 h 6858000"/>
              <a:gd name="connsiteX420" fmla="*/ 5121094 w 9595474"/>
              <a:gd name="connsiteY420" fmla="*/ 3996373 h 6858000"/>
              <a:gd name="connsiteX421" fmla="*/ 5118729 w 9595474"/>
              <a:gd name="connsiteY421" fmla="*/ 4002088 h 6858000"/>
              <a:gd name="connsiteX422" fmla="*/ 5116660 w 9595474"/>
              <a:gd name="connsiteY422" fmla="*/ 4007803 h 6858000"/>
              <a:gd name="connsiteX423" fmla="*/ 5114591 w 9595474"/>
              <a:gd name="connsiteY423" fmla="*/ 4013518 h 6858000"/>
              <a:gd name="connsiteX424" fmla="*/ 5113113 w 9595474"/>
              <a:gd name="connsiteY424" fmla="*/ 4019233 h 6858000"/>
              <a:gd name="connsiteX425" fmla="*/ 5111636 w 9595474"/>
              <a:gd name="connsiteY425" fmla="*/ 4025265 h 6858000"/>
              <a:gd name="connsiteX426" fmla="*/ 5111044 w 9595474"/>
              <a:gd name="connsiteY426" fmla="*/ 4031298 h 6858000"/>
              <a:gd name="connsiteX427" fmla="*/ 5110158 w 9595474"/>
              <a:gd name="connsiteY427" fmla="*/ 4037013 h 6858000"/>
              <a:gd name="connsiteX428" fmla="*/ 5109862 w 9595474"/>
              <a:gd name="connsiteY428" fmla="*/ 4043045 h 6858000"/>
              <a:gd name="connsiteX429" fmla="*/ 5109567 w 9595474"/>
              <a:gd name="connsiteY429" fmla="*/ 4049078 h 6858000"/>
              <a:gd name="connsiteX430" fmla="*/ 5109862 w 9595474"/>
              <a:gd name="connsiteY430" fmla="*/ 4055110 h 6858000"/>
              <a:gd name="connsiteX431" fmla="*/ 5110158 w 9595474"/>
              <a:gd name="connsiteY431" fmla="*/ 4061143 h 6858000"/>
              <a:gd name="connsiteX432" fmla="*/ 5111044 w 9595474"/>
              <a:gd name="connsiteY432" fmla="*/ 4066858 h 6858000"/>
              <a:gd name="connsiteX433" fmla="*/ 5111636 w 9595474"/>
              <a:gd name="connsiteY433" fmla="*/ 4072890 h 6858000"/>
              <a:gd name="connsiteX434" fmla="*/ 5113113 w 9595474"/>
              <a:gd name="connsiteY434" fmla="*/ 4078605 h 6858000"/>
              <a:gd name="connsiteX435" fmla="*/ 5114591 w 9595474"/>
              <a:gd name="connsiteY435" fmla="*/ 4084320 h 6858000"/>
              <a:gd name="connsiteX436" fmla="*/ 5116660 w 9595474"/>
              <a:gd name="connsiteY436" fmla="*/ 4090035 h 6858000"/>
              <a:gd name="connsiteX437" fmla="*/ 5118729 w 9595474"/>
              <a:gd name="connsiteY437" fmla="*/ 4095750 h 6858000"/>
              <a:gd name="connsiteX438" fmla="*/ 5121094 w 9595474"/>
              <a:gd name="connsiteY438" fmla="*/ 4101783 h 6858000"/>
              <a:gd name="connsiteX439" fmla="*/ 5123754 w 9595474"/>
              <a:gd name="connsiteY439" fmla="*/ 4107180 h 6858000"/>
              <a:gd name="connsiteX440" fmla="*/ 5126710 w 9595474"/>
              <a:gd name="connsiteY440" fmla="*/ 4112578 h 6858000"/>
              <a:gd name="connsiteX441" fmla="*/ 5129961 w 9595474"/>
              <a:gd name="connsiteY441" fmla="*/ 4117975 h 6858000"/>
              <a:gd name="connsiteX442" fmla="*/ 5133508 w 9595474"/>
              <a:gd name="connsiteY442" fmla="*/ 4122738 h 6858000"/>
              <a:gd name="connsiteX443" fmla="*/ 5137646 w 9595474"/>
              <a:gd name="connsiteY443" fmla="*/ 4127818 h 6858000"/>
              <a:gd name="connsiteX444" fmla="*/ 5141488 w 9595474"/>
              <a:gd name="connsiteY444" fmla="*/ 4132580 h 6858000"/>
              <a:gd name="connsiteX445" fmla="*/ 5146218 w 9595474"/>
              <a:gd name="connsiteY445" fmla="*/ 4137343 h 6858000"/>
              <a:gd name="connsiteX446" fmla="*/ 5870075 w 9595474"/>
              <a:gd name="connsiteY446" fmla="*/ 4860925 h 6858000"/>
              <a:gd name="connsiteX447" fmla="*/ 5874509 w 9595474"/>
              <a:gd name="connsiteY447" fmla="*/ 4865688 h 6858000"/>
              <a:gd name="connsiteX448" fmla="*/ 5878646 w 9595474"/>
              <a:gd name="connsiteY448" fmla="*/ 4870768 h 6858000"/>
              <a:gd name="connsiteX449" fmla="*/ 5882489 w 9595474"/>
              <a:gd name="connsiteY449" fmla="*/ 4875848 h 6858000"/>
              <a:gd name="connsiteX450" fmla="*/ 5886036 w 9595474"/>
              <a:gd name="connsiteY450" fmla="*/ 4880928 h 6858000"/>
              <a:gd name="connsiteX451" fmla="*/ 5889287 w 9595474"/>
              <a:gd name="connsiteY451" fmla="*/ 4885690 h 6858000"/>
              <a:gd name="connsiteX452" fmla="*/ 5892243 w 9595474"/>
              <a:gd name="connsiteY452" fmla="*/ 4891088 h 6858000"/>
              <a:gd name="connsiteX453" fmla="*/ 5895199 w 9595474"/>
              <a:gd name="connsiteY453" fmla="*/ 4897120 h 6858000"/>
              <a:gd name="connsiteX454" fmla="*/ 5897268 w 9595474"/>
              <a:gd name="connsiteY454" fmla="*/ 4902518 h 6858000"/>
              <a:gd name="connsiteX455" fmla="*/ 5899336 w 9595474"/>
              <a:gd name="connsiteY455" fmla="*/ 4908233 h 6858000"/>
              <a:gd name="connsiteX456" fmla="*/ 5901701 w 9595474"/>
              <a:gd name="connsiteY456" fmla="*/ 4913948 h 6858000"/>
              <a:gd name="connsiteX457" fmla="*/ 5902883 w 9595474"/>
              <a:gd name="connsiteY457" fmla="*/ 4919663 h 6858000"/>
              <a:gd name="connsiteX458" fmla="*/ 5904066 w 9595474"/>
              <a:gd name="connsiteY458" fmla="*/ 4925695 h 6858000"/>
              <a:gd name="connsiteX459" fmla="*/ 5905248 w 9595474"/>
              <a:gd name="connsiteY459" fmla="*/ 4931410 h 6858000"/>
              <a:gd name="connsiteX460" fmla="*/ 5905840 w 9595474"/>
              <a:gd name="connsiteY460" fmla="*/ 4937443 h 6858000"/>
              <a:gd name="connsiteX461" fmla="*/ 5906135 w 9595474"/>
              <a:gd name="connsiteY461" fmla="*/ 4943475 h 6858000"/>
              <a:gd name="connsiteX462" fmla="*/ 5906726 w 9595474"/>
              <a:gd name="connsiteY462" fmla="*/ 4949508 h 6858000"/>
              <a:gd name="connsiteX463" fmla="*/ 5906135 w 9595474"/>
              <a:gd name="connsiteY463" fmla="*/ 4955223 h 6858000"/>
              <a:gd name="connsiteX464" fmla="*/ 5905840 w 9595474"/>
              <a:gd name="connsiteY464" fmla="*/ 4961255 h 6858000"/>
              <a:gd name="connsiteX465" fmla="*/ 5905248 w 9595474"/>
              <a:gd name="connsiteY465" fmla="*/ 4967288 h 6858000"/>
              <a:gd name="connsiteX466" fmla="*/ 5904066 w 9595474"/>
              <a:gd name="connsiteY466" fmla="*/ 4973003 h 6858000"/>
              <a:gd name="connsiteX467" fmla="*/ 5902883 w 9595474"/>
              <a:gd name="connsiteY467" fmla="*/ 4979035 h 6858000"/>
              <a:gd name="connsiteX468" fmla="*/ 5901701 w 9595474"/>
              <a:gd name="connsiteY468" fmla="*/ 4985068 h 6858000"/>
              <a:gd name="connsiteX469" fmla="*/ 5899336 w 9595474"/>
              <a:gd name="connsiteY469" fmla="*/ 4990783 h 6858000"/>
              <a:gd name="connsiteX470" fmla="*/ 5897268 w 9595474"/>
              <a:gd name="connsiteY470" fmla="*/ 4996180 h 6858000"/>
              <a:gd name="connsiteX471" fmla="*/ 5895199 w 9595474"/>
              <a:gd name="connsiteY471" fmla="*/ 5001895 h 6858000"/>
              <a:gd name="connsiteX472" fmla="*/ 5892243 w 9595474"/>
              <a:gd name="connsiteY472" fmla="*/ 5007293 h 6858000"/>
              <a:gd name="connsiteX473" fmla="*/ 5889287 w 9595474"/>
              <a:gd name="connsiteY473" fmla="*/ 5012690 h 6858000"/>
              <a:gd name="connsiteX474" fmla="*/ 5886036 w 9595474"/>
              <a:gd name="connsiteY474" fmla="*/ 5018088 h 6858000"/>
              <a:gd name="connsiteX475" fmla="*/ 5882489 w 9595474"/>
              <a:gd name="connsiteY475" fmla="*/ 5023168 h 6858000"/>
              <a:gd name="connsiteX476" fmla="*/ 5878646 w 9595474"/>
              <a:gd name="connsiteY476" fmla="*/ 5028248 h 6858000"/>
              <a:gd name="connsiteX477" fmla="*/ 5874509 w 9595474"/>
              <a:gd name="connsiteY477" fmla="*/ 5032693 h 6858000"/>
              <a:gd name="connsiteX478" fmla="*/ 5870075 w 9595474"/>
              <a:gd name="connsiteY478" fmla="*/ 5037455 h 6858000"/>
              <a:gd name="connsiteX479" fmla="*/ 5865346 w 9595474"/>
              <a:gd name="connsiteY479" fmla="*/ 5041900 h 6858000"/>
              <a:gd name="connsiteX480" fmla="*/ 5860617 w 9595474"/>
              <a:gd name="connsiteY480" fmla="*/ 5046028 h 6858000"/>
              <a:gd name="connsiteX481" fmla="*/ 5855592 w 9595474"/>
              <a:gd name="connsiteY481" fmla="*/ 5050155 h 6858000"/>
              <a:gd name="connsiteX482" fmla="*/ 5850567 w 9595474"/>
              <a:gd name="connsiteY482" fmla="*/ 5053648 h 6858000"/>
              <a:gd name="connsiteX483" fmla="*/ 5845247 w 9595474"/>
              <a:gd name="connsiteY483" fmla="*/ 5056823 h 6858000"/>
              <a:gd name="connsiteX484" fmla="*/ 5839926 w 9595474"/>
              <a:gd name="connsiteY484" fmla="*/ 5059680 h 6858000"/>
              <a:gd name="connsiteX485" fmla="*/ 5834311 w 9595474"/>
              <a:gd name="connsiteY485" fmla="*/ 5062538 h 6858000"/>
              <a:gd name="connsiteX486" fmla="*/ 5828695 w 9595474"/>
              <a:gd name="connsiteY486" fmla="*/ 5064760 h 6858000"/>
              <a:gd name="connsiteX487" fmla="*/ 5823375 w 9595474"/>
              <a:gd name="connsiteY487" fmla="*/ 5066983 h 6858000"/>
              <a:gd name="connsiteX488" fmla="*/ 5817463 w 9595474"/>
              <a:gd name="connsiteY488" fmla="*/ 5069205 h 6858000"/>
              <a:gd name="connsiteX489" fmla="*/ 5811552 w 9595474"/>
              <a:gd name="connsiteY489" fmla="*/ 5070475 h 6858000"/>
              <a:gd name="connsiteX490" fmla="*/ 5805640 w 9595474"/>
              <a:gd name="connsiteY490" fmla="*/ 5071428 h 6858000"/>
              <a:gd name="connsiteX491" fmla="*/ 5800024 w 9595474"/>
              <a:gd name="connsiteY491" fmla="*/ 5072698 h 6858000"/>
              <a:gd name="connsiteX492" fmla="*/ 5793817 w 9595474"/>
              <a:gd name="connsiteY492" fmla="*/ 5073333 h 6858000"/>
              <a:gd name="connsiteX493" fmla="*/ 5787610 w 9595474"/>
              <a:gd name="connsiteY493" fmla="*/ 5073650 h 6858000"/>
              <a:gd name="connsiteX494" fmla="*/ 5781994 w 9595474"/>
              <a:gd name="connsiteY494" fmla="*/ 5073968 h 6858000"/>
              <a:gd name="connsiteX495" fmla="*/ 5775787 w 9595474"/>
              <a:gd name="connsiteY495" fmla="*/ 5073650 h 6858000"/>
              <a:gd name="connsiteX496" fmla="*/ 5770171 w 9595474"/>
              <a:gd name="connsiteY496" fmla="*/ 5073333 h 6858000"/>
              <a:gd name="connsiteX497" fmla="*/ 5763965 w 9595474"/>
              <a:gd name="connsiteY497" fmla="*/ 5072698 h 6858000"/>
              <a:gd name="connsiteX498" fmla="*/ 5758349 w 9595474"/>
              <a:gd name="connsiteY498" fmla="*/ 5071428 h 6858000"/>
              <a:gd name="connsiteX499" fmla="*/ 5752141 w 9595474"/>
              <a:gd name="connsiteY499" fmla="*/ 5070475 h 6858000"/>
              <a:gd name="connsiteX500" fmla="*/ 5746526 w 9595474"/>
              <a:gd name="connsiteY500" fmla="*/ 5069205 h 6858000"/>
              <a:gd name="connsiteX501" fmla="*/ 5740614 w 9595474"/>
              <a:gd name="connsiteY501" fmla="*/ 5066983 h 6858000"/>
              <a:gd name="connsiteX502" fmla="*/ 5734998 w 9595474"/>
              <a:gd name="connsiteY502" fmla="*/ 5064760 h 6858000"/>
              <a:gd name="connsiteX503" fmla="*/ 5729382 w 9595474"/>
              <a:gd name="connsiteY503" fmla="*/ 5062538 h 6858000"/>
              <a:gd name="connsiteX504" fmla="*/ 5723767 w 9595474"/>
              <a:gd name="connsiteY504" fmla="*/ 5059680 h 6858000"/>
              <a:gd name="connsiteX505" fmla="*/ 5718446 w 9595474"/>
              <a:gd name="connsiteY505" fmla="*/ 5056823 h 6858000"/>
              <a:gd name="connsiteX506" fmla="*/ 5713421 w 9595474"/>
              <a:gd name="connsiteY506" fmla="*/ 5053648 h 6858000"/>
              <a:gd name="connsiteX507" fmla="*/ 5708396 w 9595474"/>
              <a:gd name="connsiteY507" fmla="*/ 5050155 h 6858000"/>
              <a:gd name="connsiteX508" fmla="*/ 5703372 w 9595474"/>
              <a:gd name="connsiteY508" fmla="*/ 5046028 h 6858000"/>
              <a:gd name="connsiteX509" fmla="*/ 5698347 w 9595474"/>
              <a:gd name="connsiteY509" fmla="*/ 5041900 h 6858000"/>
              <a:gd name="connsiteX510" fmla="*/ 5693618 w 9595474"/>
              <a:gd name="connsiteY510" fmla="*/ 5037455 h 6858000"/>
              <a:gd name="connsiteX511" fmla="*/ 5598148 w 9595474"/>
              <a:gd name="connsiteY511" fmla="*/ 4941888 h 6858000"/>
              <a:gd name="connsiteX512" fmla="*/ 5490560 w 9595474"/>
              <a:gd name="connsiteY512" fmla="*/ 4834573 h 6858000"/>
              <a:gd name="connsiteX513" fmla="*/ 5485830 w 9595474"/>
              <a:gd name="connsiteY513" fmla="*/ 4830128 h 6858000"/>
              <a:gd name="connsiteX514" fmla="*/ 5481397 w 9595474"/>
              <a:gd name="connsiteY514" fmla="*/ 4826000 h 6858000"/>
              <a:gd name="connsiteX515" fmla="*/ 5476372 w 9595474"/>
              <a:gd name="connsiteY515" fmla="*/ 4821873 h 6858000"/>
              <a:gd name="connsiteX516" fmla="*/ 5471348 w 9595474"/>
              <a:gd name="connsiteY516" fmla="*/ 4818380 h 6858000"/>
              <a:gd name="connsiteX517" fmla="*/ 5465732 w 9595474"/>
              <a:gd name="connsiteY517" fmla="*/ 4815205 h 6858000"/>
              <a:gd name="connsiteX518" fmla="*/ 5460411 w 9595474"/>
              <a:gd name="connsiteY518" fmla="*/ 4812348 h 6858000"/>
              <a:gd name="connsiteX519" fmla="*/ 5455091 w 9595474"/>
              <a:gd name="connsiteY519" fmla="*/ 4809173 h 6858000"/>
              <a:gd name="connsiteX520" fmla="*/ 5449475 w 9595474"/>
              <a:gd name="connsiteY520" fmla="*/ 4807268 h 6858000"/>
              <a:gd name="connsiteX521" fmla="*/ 5443563 w 9595474"/>
              <a:gd name="connsiteY521" fmla="*/ 4805045 h 6858000"/>
              <a:gd name="connsiteX522" fmla="*/ 5437948 w 9595474"/>
              <a:gd name="connsiteY522" fmla="*/ 4802823 h 6858000"/>
              <a:gd name="connsiteX523" fmla="*/ 5432036 w 9595474"/>
              <a:gd name="connsiteY523" fmla="*/ 4801553 h 6858000"/>
              <a:gd name="connsiteX524" fmla="*/ 5426420 w 9595474"/>
              <a:gd name="connsiteY524" fmla="*/ 4800283 h 6858000"/>
              <a:gd name="connsiteX525" fmla="*/ 5420509 w 9595474"/>
              <a:gd name="connsiteY525" fmla="*/ 4799330 h 6858000"/>
              <a:gd name="connsiteX526" fmla="*/ 5414597 w 9595474"/>
              <a:gd name="connsiteY526" fmla="*/ 4798695 h 6858000"/>
              <a:gd name="connsiteX527" fmla="*/ 5408391 w 9595474"/>
              <a:gd name="connsiteY527" fmla="*/ 4798060 h 6858000"/>
              <a:gd name="connsiteX528" fmla="*/ 5402775 w 9595474"/>
              <a:gd name="connsiteY528" fmla="*/ 4797743 h 6858000"/>
              <a:gd name="connsiteX529" fmla="*/ 5396568 w 9595474"/>
              <a:gd name="connsiteY529" fmla="*/ 4798060 h 6858000"/>
              <a:gd name="connsiteX530" fmla="*/ 5390361 w 9595474"/>
              <a:gd name="connsiteY530" fmla="*/ 4798695 h 6858000"/>
              <a:gd name="connsiteX531" fmla="*/ 5384745 w 9595474"/>
              <a:gd name="connsiteY531" fmla="*/ 4799330 h 6858000"/>
              <a:gd name="connsiteX532" fmla="*/ 5378538 w 9595474"/>
              <a:gd name="connsiteY532" fmla="*/ 4800283 h 6858000"/>
              <a:gd name="connsiteX533" fmla="*/ 5372922 w 9595474"/>
              <a:gd name="connsiteY533" fmla="*/ 4801553 h 6858000"/>
              <a:gd name="connsiteX534" fmla="*/ 5367010 w 9595474"/>
              <a:gd name="connsiteY534" fmla="*/ 4802823 h 6858000"/>
              <a:gd name="connsiteX535" fmla="*/ 5361394 w 9595474"/>
              <a:gd name="connsiteY535" fmla="*/ 4805045 h 6858000"/>
              <a:gd name="connsiteX536" fmla="*/ 5355483 w 9595474"/>
              <a:gd name="connsiteY536" fmla="*/ 4807268 h 6858000"/>
              <a:gd name="connsiteX537" fmla="*/ 5350163 w 9595474"/>
              <a:gd name="connsiteY537" fmla="*/ 4809173 h 6858000"/>
              <a:gd name="connsiteX538" fmla="*/ 5344547 w 9595474"/>
              <a:gd name="connsiteY538" fmla="*/ 4812348 h 6858000"/>
              <a:gd name="connsiteX539" fmla="*/ 5338931 w 9595474"/>
              <a:gd name="connsiteY539" fmla="*/ 4815205 h 6858000"/>
              <a:gd name="connsiteX540" fmla="*/ 5333906 w 9595474"/>
              <a:gd name="connsiteY540" fmla="*/ 4818380 h 6858000"/>
              <a:gd name="connsiteX541" fmla="*/ 5328881 w 9595474"/>
              <a:gd name="connsiteY541" fmla="*/ 4821873 h 6858000"/>
              <a:gd name="connsiteX542" fmla="*/ 5323857 w 9595474"/>
              <a:gd name="connsiteY542" fmla="*/ 4826000 h 6858000"/>
              <a:gd name="connsiteX543" fmla="*/ 5318832 w 9595474"/>
              <a:gd name="connsiteY543" fmla="*/ 4830128 h 6858000"/>
              <a:gd name="connsiteX544" fmla="*/ 5314398 w 9595474"/>
              <a:gd name="connsiteY544" fmla="*/ 4834573 h 6858000"/>
              <a:gd name="connsiteX545" fmla="*/ 5307305 w 9595474"/>
              <a:gd name="connsiteY545" fmla="*/ 4841875 h 6858000"/>
              <a:gd name="connsiteX546" fmla="*/ 5301393 w 9595474"/>
              <a:gd name="connsiteY546" fmla="*/ 4849813 h 6858000"/>
              <a:gd name="connsiteX547" fmla="*/ 5295482 w 9595474"/>
              <a:gd name="connsiteY547" fmla="*/ 4858068 h 6858000"/>
              <a:gd name="connsiteX548" fmla="*/ 5291048 w 9595474"/>
              <a:gd name="connsiteY548" fmla="*/ 4867275 h 6858000"/>
              <a:gd name="connsiteX549" fmla="*/ 5286910 w 9595474"/>
              <a:gd name="connsiteY549" fmla="*/ 4875848 h 6858000"/>
              <a:gd name="connsiteX550" fmla="*/ 5283659 w 9595474"/>
              <a:gd name="connsiteY550" fmla="*/ 4885055 h 6858000"/>
              <a:gd name="connsiteX551" fmla="*/ 5281294 w 9595474"/>
              <a:gd name="connsiteY551" fmla="*/ 4894580 h 6858000"/>
              <a:gd name="connsiteX552" fmla="*/ 5279521 w 9595474"/>
              <a:gd name="connsiteY552" fmla="*/ 4903788 h 6858000"/>
              <a:gd name="connsiteX553" fmla="*/ 5278339 w 9595474"/>
              <a:gd name="connsiteY553" fmla="*/ 4913630 h 6858000"/>
              <a:gd name="connsiteX554" fmla="*/ 5278339 w 9595474"/>
              <a:gd name="connsiteY554" fmla="*/ 4923155 h 6858000"/>
              <a:gd name="connsiteX555" fmla="*/ 5278634 w 9595474"/>
              <a:gd name="connsiteY555" fmla="*/ 4932998 h 6858000"/>
              <a:gd name="connsiteX556" fmla="*/ 5279816 w 9595474"/>
              <a:gd name="connsiteY556" fmla="*/ 4942205 h 6858000"/>
              <a:gd name="connsiteX557" fmla="*/ 5281885 w 9595474"/>
              <a:gd name="connsiteY557" fmla="*/ 4952048 h 6858000"/>
              <a:gd name="connsiteX558" fmla="*/ 5284546 w 9595474"/>
              <a:gd name="connsiteY558" fmla="*/ 4960938 h 6858000"/>
              <a:gd name="connsiteX559" fmla="*/ 5288092 w 9595474"/>
              <a:gd name="connsiteY559" fmla="*/ 4970145 h 6858000"/>
              <a:gd name="connsiteX560" fmla="*/ 5291935 w 9595474"/>
              <a:gd name="connsiteY560" fmla="*/ 4979353 h 6858000"/>
              <a:gd name="connsiteX561" fmla="*/ 5583665 w 9595474"/>
              <a:gd name="connsiteY561" fmla="*/ 5270500 h 6858000"/>
              <a:gd name="connsiteX562" fmla="*/ 5588098 w 9595474"/>
              <a:gd name="connsiteY562" fmla="*/ 5275263 h 6858000"/>
              <a:gd name="connsiteX563" fmla="*/ 5592237 w 9595474"/>
              <a:gd name="connsiteY563" fmla="*/ 5280343 h 6858000"/>
              <a:gd name="connsiteX564" fmla="*/ 5595784 w 9595474"/>
              <a:gd name="connsiteY564" fmla="*/ 5284788 h 6858000"/>
              <a:gd name="connsiteX565" fmla="*/ 5599626 w 9595474"/>
              <a:gd name="connsiteY565" fmla="*/ 5290185 h 6858000"/>
              <a:gd name="connsiteX566" fmla="*/ 5602582 w 9595474"/>
              <a:gd name="connsiteY566" fmla="*/ 5295265 h 6858000"/>
              <a:gd name="connsiteX567" fmla="*/ 5605833 w 9595474"/>
              <a:gd name="connsiteY567" fmla="*/ 5300663 h 6858000"/>
              <a:gd name="connsiteX568" fmla="*/ 5608493 w 9595474"/>
              <a:gd name="connsiteY568" fmla="*/ 5306060 h 6858000"/>
              <a:gd name="connsiteX569" fmla="*/ 5610857 w 9595474"/>
              <a:gd name="connsiteY569" fmla="*/ 5311775 h 6858000"/>
              <a:gd name="connsiteX570" fmla="*/ 5613222 w 9595474"/>
              <a:gd name="connsiteY570" fmla="*/ 5317490 h 6858000"/>
              <a:gd name="connsiteX571" fmla="*/ 5614996 w 9595474"/>
              <a:gd name="connsiteY571" fmla="*/ 5323523 h 6858000"/>
              <a:gd name="connsiteX572" fmla="*/ 5616474 w 9595474"/>
              <a:gd name="connsiteY572" fmla="*/ 5329238 h 6858000"/>
              <a:gd name="connsiteX573" fmla="*/ 5617656 w 9595474"/>
              <a:gd name="connsiteY573" fmla="*/ 5334953 h 6858000"/>
              <a:gd name="connsiteX574" fmla="*/ 5618838 w 9595474"/>
              <a:gd name="connsiteY574" fmla="*/ 5340985 h 6858000"/>
              <a:gd name="connsiteX575" fmla="*/ 5619725 w 9595474"/>
              <a:gd name="connsiteY575" fmla="*/ 5346700 h 6858000"/>
              <a:gd name="connsiteX576" fmla="*/ 5620021 w 9595474"/>
              <a:gd name="connsiteY576" fmla="*/ 5352733 h 6858000"/>
              <a:gd name="connsiteX577" fmla="*/ 5620021 w 9595474"/>
              <a:gd name="connsiteY577" fmla="*/ 5359083 h 6858000"/>
              <a:gd name="connsiteX578" fmla="*/ 5620021 w 9595474"/>
              <a:gd name="connsiteY578" fmla="*/ 5364798 h 6858000"/>
              <a:gd name="connsiteX579" fmla="*/ 5619725 w 9595474"/>
              <a:gd name="connsiteY579" fmla="*/ 5370830 h 6858000"/>
              <a:gd name="connsiteX580" fmla="*/ 5618838 w 9595474"/>
              <a:gd name="connsiteY580" fmla="*/ 5376545 h 6858000"/>
              <a:gd name="connsiteX581" fmla="*/ 5617656 w 9595474"/>
              <a:gd name="connsiteY581" fmla="*/ 5382578 h 6858000"/>
              <a:gd name="connsiteX582" fmla="*/ 5616474 w 9595474"/>
              <a:gd name="connsiteY582" fmla="*/ 5388293 h 6858000"/>
              <a:gd name="connsiteX583" fmla="*/ 5614996 w 9595474"/>
              <a:gd name="connsiteY583" fmla="*/ 5394008 h 6858000"/>
              <a:gd name="connsiteX584" fmla="*/ 5613222 w 9595474"/>
              <a:gd name="connsiteY584" fmla="*/ 5400040 h 6858000"/>
              <a:gd name="connsiteX585" fmla="*/ 5610857 w 9595474"/>
              <a:gd name="connsiteY585" fmla="*/ 5405755 h 6858000"/>
              <a:gd name="connsiteX586" fmla="*/ 5608493 w 9595474"/>
              <a:gd name="connsiteY586" fmla="*/ 5411470 h 6858000"/>
              <a:gd name="connsiteX587" fmla="*/ 5605833 w 9595474"/>
              <a:gd name="connsiteY587" fmla="*/ 5416868 h 6858000"/>
              <a:gd name="connsiteX588" fmla="*/ 5602582 w 9595474"/>
              <a:gd name="connsiteY588" fmla="*/ 5422265 h 6858000"/>
              <a:gd name="connsiteX589" fmla="*/ 5599626 w 9595474"/>
              <a:gd name="connsiteY589" fmla="*/ 5427663 h 6858000"/>
              <a:gd name="connsiteX590" fmla="*/ 5595784 w 9595474"/>
              <a:gd name="connsiteY590" fmla="*/ 5432743 h 6858000"/>
              <a:gd name="connsiteX591" fmla="*/ 5592237 w 9595474"/>
              <a:gd name="connsiteY591" fmla="*/ 5437505 h 6858000"/>
              <a:gd name="connsiteX592" fmla="*/ 5588098 w 9595474"/>
              <a:gd name="connsiteY592" fmla="*/ 5442268 h 6858000"/>
              <a:gd name="connsiteX593" fmla="*/ 5583665 w 9595474"/>
              <a:gd name="connsiteY593" fmla="*/ 5447030 h 6858000"/>
              <a:gd name="connsiteX594" fmla="*/ 5578936 w 9595474"/>
              <a:gd name="connsiteY594" fmla="*/ 5451158 h 6858000"/>
              <a:gd name="connsiteX595" fmla="*/ 5573911 w 9595474"/>
              <a:gd name="connsiteY595" fmla="*/ 5455603 h 6858000"/>
              <a:gd name="connsiteX596" fmla="*/ 5569182 w 9595474"/>
              <a:gd name="connsiteY596" fmla="*/ 5459095 h 6858000"/>
              <a:gd name="connsiteX597" fmla="*/ 5563862 w 9595474"/>
              <a:gd name="connsiteY597" fmla="*/ 5462905 h 6858000"/>
              <a:gd name="connsiteX598" fmla="*/ 5558837 w 9595474"/>
              <a:gd name="connsiteY598" fmla="*/ 5466080 h 6858000"/>
              <a:gd name="connsiteX599" fmla="*/ 5553517 w 9595474"/>
              <a:gd name="connsiteY599" fmla="*/ 5469255 h 6858000"/>
              <a:gd name="connsiteX600" fmla="*/ 5548196 w 9595474"/>
              <a:gd name="connsiteY600" fmla="*/ 5471795 h 6858000"/>
              <a:gd name="connsiteX601" fmla="*/ 5542285 w 9595474"/>
              <a:gd name="connsiteY601" fmla="*/ 5474335 h 6858000"/>
              <a:gd name="connsiteX602" fmla="*/ 5536964 w 9595474"/>
              <a:gd name="connsiteY602" fmla="*/ 5476558 h 6858000"/>
              <a:gd name="connsiteX603" fmla="*/ 5531348 w 9595474"/>
              <a:gd name="connsiteY603" fmla="*/ 5478145 h 6858000"/>
              <a:gd name="connsiteX604" fmla="*/ 5525437 w 9595474"/>
              <a:gd name="connsiteY604" fmla="*/ 5479733 h 6858000"/>
              <a:gd name="connsiteX605" fmla="*/ 5519230 w 9595474"/>
              <a:gd name="connsiteY605" fmla="*/ 5481003 h 6858000"/>
              <a:gd name="connsiteX606" fmla="*/ 5513614 w 9595474"/>
              <a:gd name="connsiteY606" fmla="*/ 5482273 h 6858000"/>
              <a:gd name="connsiteX607" fmla="*/ 5507999 w 9595474"/>
              <a:gd name="connsiteY607" fmla="*/ 5482908 h 6858000"/>
              <a:gd name="connsiteX608" fmla="*/ 5501791 w 9595474"/>
              <a:gd name="connsiteY608" fmla="*/ 5483225 h 6858000"/>
              <a:gd name="connsiteX609" fmla="*/ 5495585 w 9595474"/>
              <a:gd name="connsiteY609" fmla="*/ 5483543 h 6858000"/>
              <a:gd name="connsiteX610" fmla="*/ 6873545 w 9595474"/>
              <a:gd name="connsiteY610" fmla="*/ 6858000 h 6858000"/>
              <a:gd name="connsiteX611" fmla="*/ 9595474 w 9595474"/>
              <a:gd name="connsiteY611" fmla="*/ 6858000 h 6858000"/>
              <a:gd name="connsiteX612" fmla="*/ 9595474 w 9595474"/>
              <a:gd name="connsiteY61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</a:cxnLst>
            <a:rect l="l" t="t" r="r" b="b"/>
            <a:pathLst>
              <a:path w="9595474" h="6858000">
                <a:moveTo>
                  <a:pt x="9595474" y="0"/>
                </a:moveTo>
                <a:lnTo>
                  <a:pt x="0" y="0"/>
                </a:lnTo>
                <a:lnTo>
                  <a:pt x="692823" y="691198"/>
                </a:lnTo>
                <a:lnTo>
                  <a:pt x="691345" y="683895"/>
                </a:lnTo>
                <a:lnTo>
                  <a:pt x="690754" y="676275"/>
                </a:lnTo>
                <a:lnTo>
                  <a:pt x="690754" y="669290"/>
                </a:lnTo>
                <a:lnTo>
                  <a:pt x="690754" y="661988"/>
                </a:lnTo>
                <a:lnTo>
                  <a:pt x="691345" y="654368"/>
                </a:lnTo>
                <a:lnTo>
                  <a:pt x="692527" y="647383"/>
                </a:lnTo>
                <a:lnTo>
                  <a:pt x="694005" y="640080"/>
                </a:lnTo>
                <a:lnTo>
                  <a:pt x="695778" y="633095"/>
                </a:lnTo>
                <a:lnTo>
                  <a:pt x="698143" y="625793"/>
                </a:lnTo>
                <a:lnTo>
                  <a:pt x="700803" y="618808"/>
                </a:lnTo>
                <a:lnTo>
                  <a:pt x="704054" y="612140"/>
                </a:lnTo>
                <a:lnTo>
                  <a:pt x="707601" y="605790"/>
                </a:lnTo>
                <a:lnTo>
                  <a:pt x="712035" y="599123"/>
                </a:lnTo>
                <a:lnTo>
                  <a:pt x="716173" y="592773"/>
                </a:lnTo>
                <a:lnTo>
                  <a:pt x="721198" y="587058"/>
                </a:lnTo>
                <a:lnTo>
                  <a:pt x="726518" y="581343"/>
                </a:lnTo>
                <a:lnTo>
                  <a:pt x="731247" y="576898"/>
                </a:lnTo>
                <a:lnTo>
                  <a:pt x="735976" y="572453"/>
                </a:lnTo>
                <a:lnTo>
                  <a:pt x="741001" y="568960"/>
                </a:lnTo>
                <a:lnTo>
                  <a:pt x="746026" y="565468"/>
                </a:lnTo>
                <a:lnTo>
                  <a:pt x="751050" y="562293"/>
                </a:lnTo>
                <a:lnTo>
                  <a:pt x="756371" y="558800"/>
                </a:lnTo>
                <a:lnTo>
                  <a:pt x="761691" y="556578"/>
                </a:lnTo>
                <a:lnTo>
                  <a:pt x="767602" y="554038"/>
                </a:lnTo>
                <a:lnTo>
                  <a:pt x="772923" y="551815"/>
                </a:lnTo>
                <a:lnTo>
                  <a:pt x="778834" y="549910"/>
                </a:lnTo>
                <a:lnTo>
                  <a:pt x="784450" y="548640"/>
                </a:lnTo>
                <a:lnTo>
                  <a:pt x="790066" y="547370"/>
                </a:lnTo>
                <a:lnTo>
                  <a:pt x="795977" y="546418"/>
                </a:lnTo>
                <a:lnTo>
                  <a:pt x="802184" y="545783"/>
                </a:lnTo>
                <a:lnTo>
                  <a:pt x="807800" y="545465"/>
                </a:lnTo>
                <a:lnTo>
                  <a:pt x="814007" y="544830"/>
                </a:lnTo>
                <a:lnTo>
                  <a:pt x="819623" y="545465"/>
                </a:lnTo>
                <a:lnTo>
                  <a:pt x="825830" y="545783"/>
                </a:lnTo>
                <a:lnTo>
                  <a:pt x="831446" y="546418"/>
                </a:lnTo>
                <a:lnTo>
                  <a:pt x="837358" y="547370"/>
                </a:lnTo>
                <a:lnTo>
                  <a:pt x="842974" y="548640"/>
                </a:lnTo>
                <a:lnTo>
                  <a:pt x="848885" y="549910"/>
                </a:lnTo>
                <a:lnTo>
                  <a:pt x="854501" y="551815"/>
                </a:lnTo>
                <a:lnTo>
                  <a:pt x="860117" y="554038"/>
                </a:lnTo>
                <a:lnTo>
                  <a:pt x="865733" y="556578"/>
                </a:lnTo>
                <a:lnTo>
                  <a:pt x="871053" y="558800"/>
                </a:lnTo>
                <a:lnTo>
                  <a:pt x="876373" y="562293"/>
                </a:lnTo>
                <a:lnTo>
                  <a:pt x="881398" y="565468"/>
                </a:lnTo>
                <a:lnTo>
                  <a:pt x="886718" y="568960"/>
                </a:lnTo>
                <a:lnTo>
                  <a:pt x="891447" y="572453"/>
                </a:lnTo>
                <a:lnTo>
                  <a:pt x="896177" y="576898"/>
                </a:lnTo>
                <a:lnTo>
                  <a:pt x="900906" y="581343"/>
                </a:lnTo>
                <a:lnTo>
                  <a:pt x="1431459" y="1111568"/>
                </a:lnTo>
                <a:lnTo>
                  <a:pt x="2394731" y="2074863"/>
                </a:lnTo>
                <a:lnTo>
                  <a:pt x="2399164" y="2079308"/>
                </a:lnTo>
                <a:lnTo>
                  <a:pt x="2404189" y="2083435"/>
                </a:lnTo>
                <a:lnTo>
                  <a:pt x="2408918" y="2087245"/>
                </a:lnTo>
                <a:lnTo>
                  <a:pt x="2413943" y="2090738"/>
                </a:lnTo>
                <a:lnTo>
                  <a:pt x="2419263" y="2093913"/>
                </a:lnTo>
                <a:lnTo>
                  <a:pt x="2424583" y="2096770"/>
                </a:lnTo>
                <a:lnTo>
                  <a:pt x="2430199" y="2099628"/>
                </a:lnTo>
                <a:lnTo>
                  <a:pt x="2435520" y="2101850"/>
                </a:lnTo>
                <a:lnTo>
                  <a:pt x="2441136" y="2104073"/>
                </a:lnTo>
                <a:lnTo>
                  <a:pt x="2447047" y="2105660"/>
                </a:lnTo>
                <a:lnTo>
                  <a:pt x="2452663" y="2107565"/>
                </a:lnTo>
                <a:lnTo>
                  <a:pt x="2458574" y="2108518"/>
                </a:lnTo>
                <a:lnTo>
                  <a:pt x="2464190" y="2109788"/>
                </a:lnTo>
                <a:lnTo>
                  <a:pt x="2469806" y="2110423"/>
                </a:lnTo>
                <a:lnTo>
                  <a:pt x="2476013" y="2110740"/>
                </a:lnTo>
                <a:lnTo>
                  <a:pt x="2481925" y="2111058"/>
                </a:lnTo>
                <a:lnTo>
                  <a:pt x="2487836" y="2110740"/>
                </a:lnTo>
                <a:lnTo>
                  <a:pt x="2493747" y="2110423"/>
                </a:lnTo>
                <a:lnTo>
                  <a:pt x="2499363" y="2109788"/>
                </a:lnTo>
                <a:lnTo>
                  <a:pt x="2505570" y="2108518"/>
                </a:lnTo>
                <a:lnTo>
                  <a:pt x="2511186" y="2107565"/>
                </a:lnTo>
                <a:lnTo>
                  <a:pt x="2517098" y="2105660"/>
                </a:lnTo>
                <a:lnTo>
                  <a:pt x="2522714" y="2104073"/>
                </a:lnTo>
                <a:lnTo>
                  <a:pt x="2528034" y="2101850"/>
                </a:lnTo>
                <a:lnTo>
                  <a:pt x="2533945" y="2099628"/>
                </a:lnTo>
                <a:lnTo>
                  <a:pt x="2539266" y="2096770"/>
                </a:lnTo>
                <a:lnTo>
                  <a:pt x="2544290" y="2093913"/>
                </a:lnTo>
                <a:lnTo>
                  <a:pt x="2549611" y="2090738"/>
                </a:lnTo>
                <a:lnTo>
                  <a:pt x="2554635" y="2087245"/>
                </a:lnTo>
                <a:lnTo>
                  <a:pt x="2559660" y="2083435"/>
                </a:lnTo>
                <a:lnTo>
                  <a:pt x="2564389" y="2079308"/>
                </a:lnTo>
                <a:lnTo>
                  <a:pt x="2569119" y="2074863"/>
                </a:lnTo>
                <a:lnTo>
                  <a:pt x="2573257" y="2070100"/>
                </a:lnTo>
                <a:lnTo>
                  <a:pt x="2577395" y="2065655"/>
                </a:lnTo>
                <a:lnTo>
                  <a:pt x="2581237" y="2060575"/>
                </a:lnTo>
                <a:lnTo>
                  <a:pt x="2584784" y="2055495"/>
                </a:lnTo>
                <a:lnTo>
                  <a:pt x="2588035" y="2050415"/>
                </a:lnTo>
                <a:lnTo>
                  <a:pt x="2590991" y="2045018"/>
                </a:lnTo>
                <a:lnTo>
                  <a:pt x="2593651" y="2039620"/>
                </a:lnTo>
                <a:lnTo>
                  <a:pt x="2596016" y="2034223"/>
                </a:lnTo>
                <a:lnTo>
                  <a:pt x="2598085" y="2028508"/>
                </a:lnTo>
                <a:lnTo>
                  <a:pt x="2599858" y="2022793"/>
                </a:lnTo>
                <a:lnTo>
                  <a:pt x="2601336" y="2017078"/>
                </a:lnTo>
                <a:lnTo>
                  <a:pt x="2602814" y="2011363"/>
                </a:lnTo>
                <a:lnTo>
                  <a:pt x="2603996" y="2005648"/>
                </a:lnTo>
                <a:lnTo>
                  <a:pt x="2604587" y="1999615"/>
                </a:lnTo>
                <a:cubicBezTo>
                  <a:pt x="2604686" y="1997604"/>
                  <a:pt x="2604784" y="1995594"/>
                  <a:pt x="2604883" y="1993583"/>
                </a:cubicBezTo>
                <a:lnTo>
                  <a:pt x="2604883" y="1987550"/>
                </a:lnTo>
                <a:lnTo>
                  <a:pt x="2604883" y="1981835"/>
                </a:lnTo>
                <a:cubicBezTo>
                  <a:pt x="2604784" y="1979930"/>
                  <a:pt x="2604686" y="1978025"/>
                  <a:pt x="2604587" y="1976120"/>
                </a:cubicBezTo>
                <a:lnTo>
                  <a:pt x="2603996" y="1970088"/>
                </a:lnTo>
                <a:lnTo>
                  <a:pt x="2602814" y="1964373"/>
                </a:lnTo>
                <a:lnTo>
                  <a:pt x="2601336" y="1958658"/>
                </a:lnTo>
                <a:lnTo>
                  <a:pt x="2599858" y="1952625"/>
                </a:lnTo>
                <a:lnTo>
                  <a:pt x="2598085" y="1946910"/>
                </a:lnTo>
                <a:lnTo>
                  <a:pt x="2596016" y="1941195"/>
                </a:lnTo>
                <a:lnTo>
                  <a:pt x="2593651" y="1935798"/>
                </a:lnTo>
                <a:lnTo>
                  <a:pt x="2590991" y="1930400"/>
                </a:lnTo>
                <a:lnTo>
                  <a:pt x="2588035" y="1925003"/>
                </a:lnTo>
                <a:lnTo>
                  <a:pt x="2584784" y="1919923"/>
                </a:lnTo>
                <a:lnTo>
                  <a:pt x="2581237" y="1915160"/>
                </a:lnTo>
                <a:lnTo>
                  <a:pt x="2577395" y="1910080"/>
                </a:lnTo>
                <a:lnTo>
                  <a:pt x="2573257" y="1905318"/>
                </a:lnTo>
                <a:lnTo>
                  <a:pt x="2569119" y="1900555"/>
                </a:lnTo>
                <a:lnTo>
                  <a:pt x="1590477" y="922020"/>
                </a:lnTo>
                <a:lnTo>
                  <a:pt x="1272736" y="604203"/>
                </a:lnTo>
                <a:lnTo>
                  <a:pt x="1268303" y="599440"/>
                </a:lnTo>
                <a:lnTo>
                  <a:pt x="1264165" y="594995"/>
                </a:lnTo>
                <a:lnTo>
                  <a:pt x="1260322" y="589915"/>
                </a:lnTo>
                <a:lnTo>
                  <a:pt x="1256776" y="584835"/>
                </a:lnTo>
                <a:lnTo>
                  <a:pt x="1253524" y="579755"/>
                </a:lnTo>
                <a:lnTo>
                  <a:pt x="1250864" y="574358"/>
                </a:lnTo>
                <a:lnTo>
                  <a:pt x="1247908" y="568960"/>
                </a:lnTo>
                <a:lnTo>
                  <a:pt x="1245839" y="563563"/>
                </a:lnTo>
                <a:lnTo>
                  <a:pt x="1243475" y="557848"/>
                </a:lnTo>
                <a:lnTo>
                  <a:pt x="1241701" y="552133"/>
                </a:lnTo>
                <a:lnTo>
                  <a:pt x="1239928" y="546418"/>
                </a:lnTo>
                <a:lnTo>
                  <a:pt x="1238746" y="540703"/>
                </a:lnTo>
                <a:lnTo>
                  <a:pt x="1237859" y="534988"/>
                </a:lnTo>
                <a:lnTo>
                  <a:pt x="1236972" y="528638"/>
                </a:lnTo>
                <a:cubicBezTo>
                  <a:pt x="1236874" y="526733"/>
                  <a:pt x="1236775" y="524828"/>
                  <a:pt x="1236677" y="522923"/>
                </a:cubicBezTo>
                <a:cubicBezTo>
                  <a:pt x="1236578" y="520912"/>
                  <a:pt x="1236480" y="518901"/>
                  <a:pt x="1236381" y="516890"/>
                </a:cubicBezTo>
                <a:cubicBezTo>
                  <a:pt x="1236480" y="514985"/>
                  <a:pt x="1236578" y="513080"/>
                  <a:pt x="1236677" y="511175"/>
                </a:cubicBezTo>
                <a:cubicBezTo>
                  <a:pt x="1236775" y="509270"/>
                  <a:pt x="1236874" y="507365"/>
                  <a:pt x="1236972" y="505460"/>
                </a:cubicBezTo>
                <a:lnTo>
                  <a:pt x="1237859" y="499428"/>
                </a:lnTo>
                <a:lnTo>
                  <a:pt x="1238746" y="493713"/>
                </a:lnTo>
                <a:lnTo>
                  <a:pt x="1239928" y="487680"/>
                </a:lnTo>
                <a:lnTo>
                  <a:pt x="1241701" y="481965"/>
                </a:lnTo>
                <a:lnTo>
                  <a:pt x="1243475" y="476250"/>
                </a:lnTo>
                <a:lnTo>
                  <a:pt x="1245839" y="470535"/>
                </a:lnTo>
                <a:lnTo>
                  <a:pt x="1247908" y="465138"/>
                </a:lnTo>
                <a:lnTo>
                  <a:pt x="1250864" y="459740"/>
                </a:lnTo>
                <a:lnTo>
                  <a:pt x="1253524" y="454343"/>
                </a:lnTo>
                <a:lnTo>
                  <a:pt x="1256776" y="449263"/>
                </a:lnTo>
                <a:lnTo>
                  <a:pt x="1260322" y="444500"/>
                </a:lnTo>
                <a:lnTo>
                  <a:pt x="1264165" y="439420"/>
                </a:lnTo>
                <a:lnTo>
                  <a:pt x="1268303" y="434658"/>
                </a:lnTo>
                <a:lnTo>
                  <a:pt x="1272736" y="429895"/>
                </a:lnTo>
                <a:lnTo>
                  <a:pt x="1277466" y="425768"/>
                </a:lnTo>
                <a:lnTo>
                  <a:pt x="1281899" y="421323"/>
                </a:lnTo>
                <a:lnTo>
                  <a:pt x="1286924" y="417830"/>
                </a:lnTo>
                <a:lnTo>
                  <a:pt x="1291949" y="414338"/>
                </a:lnTo>
                <a:lnTo>
                  <a:pt x="1296973" y="410845"/>
                </a:lnTo>
                <a:lnTo>
                  <a:pt x="1302589" y="407988"/>
                </a:lnTo>
                <a:lnTo>
                  <a:pt x="1307910" y="405130"/>
                </a:lnTo>
                <a:lnTo>
                  <a:pt x="1313230" y="402908"/>
                </a:lnTo>
                <a:lnTo>
                  <a:pt x="1318846" y="401003"/>
                </a:lnTo>
                <a:lnTo>
                  <a:pt x="1324757" y="399098"/>
                </a:lnTo>
                <a:lnTo>
                  <a:pt x="1330373" y="397193"/>
                </a:lnTo>
                <a:lnTo>
                  <a:pt x="1336285" y="396240"/>
                </a:lnTo>
                <a:lnTo>
                  <a:pt x="1341901" y="395288"/>
                </a:lnTo>
                <a:lnTo>
                  <a:pt x="1348108" y="394335"/>
                </a:lnTo>
                <a:lnTo>
                  <a:pt x="1353723" y="394018"/>
                </a:lnTo>
                <a:lnTo>
                  <a:pt x="1359930" y="393700"/>
                </a:lnTo>
                <a:lnTo>
                  <a:pt x="1365546" y="394018"/>
                </a:lnTo>
                <a:lnTo>
                  <a:pt x="1371458" y="394335"/>
                </a:lnTo>
                <a:lnTo>
                  <a:pt x="1377665" y="395288"/>
                </a:lnTo>
                <a:lnTo>
                  <a:pt x="1383281" y="396240"/>
                </a:lnTo>
                <a:lnTo>
                  <a:pt x="1388897" y="397193"/>
                </a:lnTo>
                <a:lnTo>
                  <a:pt x="1394808" y="399098"/>
                </a:lnTo>
                <a:lnTo>
                  <a:pt x="1400424" y="401003"/>
                </a:lnTo>
                <a:lnTo>
                  <a:pt x="1406335" y="402908"/>
                </a:lnTo>
                <a:lnTo>
                  <a:pt x="1411656" y="405130"/>
                </a:lnTo>
                <a:lnTo>
                  <a:pt x="1416976" y="407988"/>
                </a:lnTo>
                <a:lnTo>
                  <a:pt x="1422296" y="410845"/>
                </a:lnTo>
                <a:lnTo>
                  <a:pt x="1427617" y="414338"/>
                </a:lnTo>
                <a:lnTo>
                  <a:pt x="1432641" y="417830"/>
                </a:lnTo>
                <a:lnTo>
                  <a:pt x="1437666" y="421323"/>
                </a:lnTo>
                <a:lnTo>
                  <a:pt x="1442100" y="425768"/>
                </a:lnTo>
                <a:lnTo>
                  <a:pt x="1446829" y="429895"/>
                </a:lnTo>
                <a:lnTo>
                  <a:pt x="1907036" y="890270"/>
                </a:lnTo>
                <a:lnTo>
                  <a:pt x="2165662" y="1148715"/>
                </a:lnTo>
                <a:lnTo>
                  <a:pt x="2170391" y="1153160"/>
                </a:lnTo>
                <a:lnTo>
                  <a:pt x="2175416" y="1157288"/>
                </a:lnTo>
                <a:lnTo>
                  <a:pt x="2180145" y="1161098"/>
                </a:lnTo>
                <a:lnTo>
                  <a:pt x="2185170" y="1164590"/>
                </a:lnTo>
                <a:lnTo>
                  <a:pt x="2190490" y="1167765"/>
                </a:lnTo>
                <a:lnTo>
                  <a:pt x="2195810" y="1170623"/>
                </a:lnTo>
                <a:lnTo>
                  <a:pt x="2201130" y="1173480"/>
                </a:lnTo>
                <a:lnTo>
                  <a:pt x="2206746" y="1176020"/>
                </a:lnTo>
                <a:lnTo>
                  <a:pt x="2212362" y="1177925"/>
                </a:lnTo>
                <a:lnTo>
                  <a:pt x="2217683" y="1180148"/>
                </a:lnTo>
                <a:lnTo>
                  <a:pt x="2223594" y="1181418"/>
                </a:lnTo>
                <a:lnTo>
                  <a:pt x="2229505" y="1182688"/>
                </a:lnTo>
                <a:lnTo>
                  <a:pt x="2235417" y="1183640"/>
                </a:lnTo>
                <a:lnTo>
                  <a:pt x="2241033" y="1184275"/>
                </a:lnTo>
                <a:lnTo>
                  <a:pt x="2247240" y="1184593"/>
                </a:lnTo>
                <a:lnTo>
                  <a:pt x="2252856" y="1185228"/>
                </a:lnTo>
                <a:lnTo>
                  <a:pt x="2259063" y="1184593"/>
                </a:lnTo>
                <a:lnTo>
                  <a:pt x="2264679" y="1184275"/>
                </a:lnTo>
                <a:lnTo>
                  <a:pt x="2270590" y="1183640"/>
                </a:lnTo>
                <a:lnTo>
                  <a:pt x="2276797" y="1182688"/>
                </a:lnTo>
                <a:lnTo>
                  <a:pt x="2282413" y="1181418"/>
                </a:lnTo>
                <a:lnTo>
                  <a:pt x="2288029" y="1180148"/>
                </a:lnTo>
                <a:lnTo>
                  <a:pt x="2293940" y="1177925"/>
                </a:lnTo>
                <a:lnTo>
                  <a:pt x="2299261" y="1176020"/>
                </a:lnTo>
                <a:lnTo>
                  <a:pt x="2304581" y="1173480"/>
                </a:lnTo>
                <a:lnTo>
                  <a:pt x="2310492" y="1170623"/>
                </a:lnTo>
                <a:lnTo>
                  <a:pt x="2315517" y="1167765"/>
                </a:lnTo>
                <a:lnTo>
                  <a:pt x="2320837" y="1164590"/>
                </a:lnTo>
                <a:lnTo>
                  <a:pt x="2325862" y="1161098"/>
                </a:lnTo>
                <a:lnTo>
                  <a:pt x="2330887" y="1157288"/>
                </a:lnTo>
                <a:lnTo>
                  <a:pt x="2335616" y="1153160"/>
                </a:lnTo>
                <a:lnTo>
                  <a:pt x="2340345" y="1148715"/>
                </a:lnTo>
                <a:lnTo>
                  <a:pt x="2344483" y="1144270"/>
                </a:lnTo>
                <a:lnTo>
                  <a:pt x="2348621" y="1139508"/>
                </a:lnTo>
                <a:lnTo>
                  <a:pt x="2352464" y="1134428"/>
                </a:lnTo>
                <a:lnTo>
                  <a:pt x="2356011" y="1129348"/>
                </a:lnTo>
                <a:lnTo>
                  <a:pt x="2359262" y="1124268"/>
                </a:lnTo>
                <a:lnTo>
                  <a:pt x="2362218" y="1118870"/>
                </a:lnTo>
                <a:lnTo>
                  <a:pt x="2364582" y="1113473"/>
                </a:lnTo>
                <a:lnTo>
                  <a:pt x="2367242" y="1108075"/>
                </a:lnTo>
                <a:lnTo>
                  <a:pt x="2369311" y="1102360"/>
                </a:lnTo>
                <a:lnTo>
                  <a:pt x="2371085" y="1096645"/>
                </a:lnTo>
                <a:lnTo>
                  <a:pt x="2372563" y="1090930"/>
                </a:lnTo>
                <a:lnTo>
                  <a:pt x="2374041" y="1085215"/>
                </a:lnTo>
                <a:lnTo>
                  <a:pt x="2375223" y="1079500"/>
                </a:lnTo>
                <a:lnTo>
                  <a:pt x="2375814" y="1073785"/>
                </a:lnTo>
                <a:cubicBezTo>
                  <a:pt x="2375913" y="1071774"/>
                  <a:pt x="2376011" y="1069764"/>
                  <a:pt x="2376110" y="1067753"/>
                </a:cubicBezTo>
                <a:lnTo>
                  <a:pt x="2376110" y="1061720"/>
                </a:lnTo>
                <a:lnTo>
                  <a:pt x="2376110" y="1055688"/>
                </a:lnTo>
                <a:cubicBezTo>
                  <a:pt x="2376011" y="1053783"/>
                  <a:pt x="2375913" y="1051878"/>
                  <a:pt x="2375814" y="1049973"/>
                </a:cubicBezTo>
                <a:lnTo>
                  <a:pt x="2375223" y="1043940"/>
                </a:lnTo>
                <a:lnTo>
                  <a:pt x="2374041" y="1038225"/>
                </a:lnTo>
                <a:lnTo>
                  <a:pt x="2372563" y="1032510"/>
                </a:lnTo>
                <a:lnTo>
                  <a:pt x="2371085" y="1026795"/>
                </a:lnTo>
                <a:lnTo>
                  <a:pt x="2369311" y="1021080"/>
                </a:lnTo>
                <a:lnTo>
                  <a:pt x="2367242" y="1015683"/>
                </a:lnTo>
                <a:lnTo>
                  <a:pt x="2364582" y="1009650"/>
                </a:lnTo>
                <a:lnTo>
                  <a:pt x="2362218" y="1004253"/>
                </a:lnTo>
                <a:lnTo>
                  <a:pt x="2359262" y="998855"/>
                </a:lnTo>
                <a:lnTo>
                  <a:pt x="2356011" y="994093"/>
                </a:lnTo>
                <a:lnTo>
                  <a:pt x="2352464" y="989013"/>
                </a:lnTo>
                <a:lnTo>
                  <a:pt x="2348621" y="983933"/>
                </a:lnTo>
                <a:lnTo>
                  <a:pt x="2344483" y="979170"/>
                </a:lnTo>
                <a:lnTo>
                  <a:pt x="2340345" y="974725"/>
                </a:lnTo>
                <a:lnTo>
                  <a:pt x="2240737" y="875030"/>
                </a:lnTo>
                <a:lnTo>
                  <a:pt x="1991865" y="626428"/>
                </a:lnTo>
                <a:lnTo>
                  <a:pt x="1987431" y="621665"/>
                </a:lnTo>
                <a:lnTo>
                  <a:pt x="1983589" y="616903"/>
                </a:lnTo>
                <a:lnTo>
                  <a:pt x="1979451" y="612140"/>
                </a:lnTo>
                <a:lnTo>
                  <a:pt x="1975904" y="607060"/>
                </a:lnTo>
                <a:lnTo>
                  <a:pt x="1972653" y="601663"/>
                </a:lnTo>
                <a:lnTo>
                  <a:pt x="1969993" y="596265"/>
                </a:lnTo>
                <a:lnTo>
                  <a:pt x="1967037" y="590868"/>
                </a:lnTo>
                <a:lnTo>
                  <a:pt x="1964968" y="585470"/>
                </a:lnTo>
                <a:lnTo>
                  <a:pt x="1962603" y="579755"/>
                </a:lnTo>
                <a:lnTo>
                  <a:pt x="1960830" y="574358"/>
                </a:lnTo>
                <a:lnTo>
                  <a:pt x="1959056" y="568643"/>
                </a:lnTo>
                <a:lnTo>
                  <a:pt x="1958170" y="562610"/>
                </a:lnTo>
                <a:lnTo>
                  <a:pt x="1956987" y="556895"/>
                </a:lnTo>
                <a:lnTo>
                  <a:pt x="1956396" y="551180"/>
                </a:lnTo>
                <a:lnTo>
                  <a:pt x="1955805" y="544830"/>
                </a:lnTo>
                <a:lnTo>
                  <a:pt x="1955805" y="539115"/>
                </a:lnTo>
                <a:lnTo>
                  <a:pt x="1955805" y="533083"/>
                </a:lnTo>
                <a:lnTo>
                  <a:pt x="1956396" y="527368"/>
                </a:lnTo>
                <a:lnTo>
                  <a:pt x="1956987" y="521653"/>
                </a:lnTo>
                <a:lnTo>
                  <a:pt x="1958170" y="515620"/>
                </a:lnTo>
                <a:lnTo>
                  <a:pt x="1959056" y="509588"/>
                </a:lnTo>
                <a:lnTo>
                  <a:pt x="1960830" y="503873"/>
                </a:lnTo>
                <a:lnTo>
                  <a:pt x="1962603" y="498158"/>
                </a:lnTo>
                <a:lnTo>
                  <a:pt x="1964968" y="492760"/>
                </a:lnTo>
                <a:lnTo>
                  <a:pt x="1967037" y="487363"/>
                </a:lnTo>
                <a:lnTo>
                  <a:pt x="1969993" y="481648"/>
                </a:lnTo>
                <a:lnTo>
                  <a:pt x="1972653" y="476568"/>
                </a:lnTo>
                <a:lnTo>
                  <a:pt x="1975904" y="471170"/>
                </a:lnTo>
                <a:lnTo>
                  <a:pt x="1979451" y="466408"/>
                </a:lnTo>
                <a:lnTo>
                  <a:pt x="1983589" y="461328"/>
                </a:lnTo>
                <a:lnTo>
                  <a:pt x="1987431" y="456565"/>
                </a:lnTo>
                <a:lnTo>
                  <a:pt x="1991865" y="451803"/>
                </a:lnTo>
                <a:lnTo>
                  <a:pt x="1996594" y="447675"/>
                </a:lnTo>
                <a:lnTo>
                  <a:pt x="2001028" y="443548"/>
                </a:lnTo>
                <a:lnTo>
                  <a:pt x="2006052" y="439738"/>
                </a:lnTo>
                <a:lnTo>
                  <a:pt x="2011077" y="436245"/>
                </a:lnTo>
                <a:lnTo>
                  <a:pt x="2016102" y="432753"/>
                </a:lnTo>
                <a:lnTo>
                  <a:pt x="2021718" y="429895"/>
                </a:lnTo>
                <a:lnTo>
                  <a:pt x="2027038" y="427355"/>
                </a:lnTo>
                <a:lnTo>
                  <a:pt x="2032654" y="424815"/>
                </a:lnTo>
                <a:lnTo>
                  <a:pt x="2038270" y="422910"/>
                </a:lnTo>
                <a:lnTo>
                  <a:pt x="2043886" y="421005"/>
                </a:lnTo>
                <a:lnTo>
                  <a:pt x="2049502" y="419735"/>
                </a:lnTo>
                <a:lnTo>
                  <a:pt x="2055413" y="418148"/>
                </a:lnTo>
                <a:lnTo>
                  <a:pt x="2061029" y="417195"/>
                </a:lnTo>
                <a:lnTo>
                  <a:pt x="2067236" y="416243"/>
                </a:lnTo>
                <a:lnTo>
                  <a:pt x="2072852" y="415925"/>
                </a:lnTo>
                <a:lnTo>
                  <a:pt x="2079059" y="415925"/>
                </a:lnTo>
                <a:lnTo>
                  <a:pt x="2084970" y="415925"/>
                </a:lnTo>
                <a:lnTo>
                  <a:pt x="2090882" y="416243"/>
                </a:lnTo>
                <a:lnTo>
                  <a:pt x="2096793" y="417195"/>
                </a:lnTo>
                <a:lnTo>
                  <a:pt x="2102409" y="418148"/>
                </a:lnTo>
                <a:lnTo>
                  <a:pt x="2108321" y="419735"/>
                </a:lnTo>
                <a:lnTo>
                  <a:pt x="2113936" y="421005"/>
                </a:lnTo>
                <a:lnTo>
                  <a:pt x="2119552" y="422910"/>
                </a:lnTo>
                <a:lnTo>
                  <a:pt x="2125464" y="424815"/>
                </a:lnTo>
                <a:lnTo>
                  <a:pt x="2130784" y="427355"/>
                </a:lnTo>
                <a:lnTo>
                  <a:pt x="2136104" y="429895"/>
                </a:lnTo>
                <a:lnTo>
                  <a:pt x="2141720" y="432753"/>
                </a:lnTo>
                <a:lnTo>
                  <a:pt x="2146745" y="436245"/>
                </a:lnTo>
                <a:lnTo>
                  <a:pt x="2152065" y="439738"/>
                </a:lnTo>
                <a:lnTo>
                  <a:pt x="2156795" y="443548"/>
                </a:lnTo>
                <a:lnTo>
                  <a:pt x="2161819" y="447675"/>
                </a:lnTo>
                <a:lnTo>
                  <a:pt x="2165957" y="451803"/>
                </a:lnTo>
                <a:lnTo>
                  <a:pt x="2966073" y="1251903"/>
                </a:lnTo>
                <a:lnTo>
                  <a:pt x="5612631" y="3898583"/>
                </a:lnTo>
                <a:lnTo>
                  <a:pt x="5617360" y="3903345"/>
                </a:lnTo>
                <a:lnTo>
                  <a:pt x="5621498" y="3908425"/>
                </a:lnTo>
                <a:lnTo>
                  <a:pt x="5625341" y="3913505"/>
                </a:lnTo>
                <a:lnTo>
                  <a:pt x="5628888" y="3918585"/>
                </a:lnTo>
                <a:lnTo>
                  <a:pt x="5632139" y="3923348"/>
                </a:lnTo>
                <a:lnTo>
                  <a:pt x="5635094" y="3928745"/>
                </a:lnTo>
                <a:lnTo>
                  <a:pt x="5638050" y="3934460"/>
                </a:lnTo>
                <a:lnTo>
                  <a:pt x="5640415" y="3939858"/>
                </a:lnTo>
                <a:lnTo>
                  <a:pt x="5642484" y="3945890"/>
                </a:lnTo>
                <a:lnTo>
                  <a:pt x="5644257" y="3951605"/>
                </a:lnTo>
                <a:lnTo>
                  <a:pt x="5645735" y="3957320"/>
                </a:lnTo>
                <a:lnTo>
                  <a:pt x="5647213" y="3963353"/>
                </a:lnTo>
                <a:lnTo>
                  <a:pt x="5648100" y="3969068"/>
                </a:lnTo>
                <a:lnTo>
                  <a:pt x="5648691" y="3975100"/>
                </a:lnTo>
                <a:lnTo>
                  <a:pt x="5649282" y="3980815"/>
                </a:lnTo>
                <a:lnTo>
                  <a:pt x="5649282" y="3987165"/>
                </a:lnTo>
                <a:lnTo>
                  <a:pt x="5649282" y="3992880"/>
                </a:lnTo>
                <a:lnTo>
                  <a:pt x="5648691" y="3998913"/>
                </a:lnTo>
                <a:lnTo>
                  <a:pt x="5648100" y="4004945"/>
                </a:lnTo>
                <a:lnTo>
                  <a:pt x="5647213" y="4010660"/>
                </a:lnTo>
                <a:lnTo>
                  <a:pt x="5645735" y="4016375"/>
                </a:lnTo>
                <a:lnTo>
                  <a:pt x="5644257" y="4022725"/>
                </a:lnTo>
                <a:lnTo>
                  <a:pt x="5642484" y="4028440"/>
                </a:lnTo>
                <a:lnTo>
                  <a:pt x="5640415" y="4033838"/>
                </a:lnTo>
                <a:lnTo>
                  <a:pt x="5638050" y="4039553"/>
                </a:lnTo>
                <a:lnTo>
                  <a:pt x="5635094" y="4044950"/>
                </a:lnTo>
                <a:lnTo>
                  <a:pt x="5632139" y="4050348"/>
                </a:lnTo>
                <a:lnTo>
                  <a:pt x="5628888" y="4055745"/>
                </a:lnTo>
                <a:lnTo>
                  <a:pt x="5625341" y="4060825"/>
                </a:lnTo>
                <a:lnTo>
                  <a:pt x="5621498" y="4065588"/>
                </a:lnTo>
                <a:lnTo>
                  <a:pt x="5617360" y="4070350"/>
                </a:lnTo>
                <a:lnTo>
                  <a:pt x="5612631" y="4075113"/>
                </a:lnTo>
                <a:lnTo>
                  <a:pt x="5608198" y="4079875"/>
                </a:lnTo>
                <a:lnTo>
                  <a:pt x="5603468" y="4083685"/>
                </a:lnTo>
                <a:lnTo>
                  <a:pt x="5598443" y="4087495"/>
                </a:lnTo>
                <a:lnTo>
                  <a:pt x="5593419" y="4091305"/>
                </a:lnTo>
                <a:lnTo>
                  <a:pt x="5588098" y="4094480"/>
                </a:lnTo>
                <a:lnTo>
                  <a:pt x="5582482" y="4097338"/>
                </a:lnTo>
                <a:lnTo>
                  <a:pt x="5577162" y="4100195"/>
                </a:lnTo>
                <a:lnTo>
                  <a:pt x="5571842" y="4102418"/>
                </a:lnTo>
                <a:lnTo>
                  <a:pt x="5565931" y="4104640"/>
                </a:lnTo>
                <a:lnTo>
                  <a:pt x="5560315" y="4106545"/>
                </a:lnTo>
                <a:lnTo>
                  <a:pt x="5554699" y="4108133"/>
                </a:lnTo>
                <a:lnTo>
                  <a:pt x="5548492" y="4109403"/>
                </a:lnTo>
                <a:lnTo>
                  <a:pt x="5542580" y="4110355"/>
                </a:lnTo>
                <a:lnTo>
                  <a:pt x="5536669" y="4110990"/>
                </a:lnTo>
                <a:lnTo>
                  <a:pt x="5530758" y="4111308"/>
                </a:lnTo>
                <a:lnTo>
                  <a:pt x="5524846" y="4111625"/>
                </a:lnTo>
                <a:lnTo>
                  <a:pt x="5518639" y="4111308"/>
                </a:lnTo>
                <a:lnTo>
                  <a:pt x="5513023" y="4110990"/>
                </a:lnTo>
                <a:lnTo>
                  <a:pt x="5506816" y="4110355"/>
                </a:lnTo>
                <a:lnTo>
                  <a:pt x="5501200" y="4109403"/>
                </a:lnTo>
                <a:lnTo>
                  <a:pt x="5494993" y="4108133"/>
                </a:lnTo>
                <a:lnTo>
                  <a:pt x="5489081" y="4106545"/>
                </a:lnTo>
                <a:lnTo>
                  <a:pt x="5483466" y="4104640"/>
                </a:lnTo>
                <a:lnTo>
                  <a:pt x="5477850" y="4102418"/>
                </a:lnTo>
                <a:lnTo>
                  <a:pt x="5472234" y="4100195"/>
                </a:lnTo>
                <a:lnTo>
                  <a:pt x="5466913" y="4097338"/>
                </a:lnTo>
                <a:lnTo>
                  <a:pt x="5461593" y="4094480"/>
                </a:lnTo>
                <a:lnTo>
                  <a:pt x="5456273" y="4091305"/>
                </a:lnTo>
                <a:lnTo>
                  <a:pt x="5451248" y="4087495"/>
                </a:lnTo>
                <a:lnTo>
                  <a:pt x="5446223" y="4083685"/>
                </a:lnTo>
                <a:lnTo>
                  <a:pt x="5441495" y="4079875"/>
                </a:lnTo>
                <a:lnTo>
                  <a:pt x="5436765" y="4075113"/>
                </a:lnTo>
                <a:lnTo>
                  <a:pt x="5322379" y="3960813"/>
                </a:lnTo>
                <a:lnTo>
                  <a:pt x="5317945" y="3956368"/>
                </a:lnTo>
                <a:lnTo>
                  <a:pt x="5312921" y="3952240"/>
                </a:lnTo>
                <a:lnTo>
                  <a:pt x="5307896" y="3948748"/>
                </a:lnTo>
                <a:lnTo>
                  <a:pt x="5302871" y="3944938"/>
                </a:lnTo>
                <a:lnTo>
                  <a:pt x="5297255" y="3941763"/>
                </a:lnTo>
                <a:lnTo>
                  <a:pt x="5292230" y="3938588"/>
                </a:lnTo>
                <a:lnTo>
                  <a:pt x="5286615" y="3936048"/>
                </a:lnTo>
                <a:lnTo>
                  <a:pt x="5281294" y="3933508"/>
                </a:lnTo>
                <a:lnTo>
                  <a:pt x="5275383" y="3931285"/>
                </a:lnTo>
                <a:lnTo>
                  <a:pt x="5269767" y="3929698"/>
                </a:lnTo>
                <a:lnTo>
                  <a:pt x="5263855" y="3927793"/>
                </a:lnTo>
                <a:lnTo>
                  <a:pt x="5257944" y="3926840"/>
                </a:lnTo>
                <a:lnTo>
                  <a:pt x="5252033" y="3925570"/>
                </a:lnTo>
                <a:lnTo>
                  <a:pt x="5246121" y="3924935"/>
                </a:lnTo>
                <a:lnTo>
                  <a:pt x="5240210" y="3924618"/>
                </a:lnTo>
                <a:lnTo>
                  <a:pt x="5234298" y="3924618"/>
                </a:lnTo>
                <a:lnTo>
                  <a:pt x="5228091" y="3924618"/>
                </a:lnTo>
                <a:lnTo>
                  <a:pt x="5222180" y="3924935"/>
                </a:lnTo>
                <a:lnTo>
                  <a:pt x="5216268" y="3925570"/>
                </a:lnTo>
                <a:lnTo>
                  <a:pt x="5210357" y="3926840"/>
                </a:lnTo>
                <a:lnTo>
                  <a:pt x="5204741" y="3927793"/>
                </a:lnTo>
                <a:lnTo>
                  <a:pt x="5198534" y="3929698"/>
                </a:lnTo>
                <a:lnTo>
                  <a:pt x="5192918" y="3931285"/>
                </a:lnTo>
                <a:lnTo>
                  <a:pt x="5187598" y="3933508"/>
                </a:lnTo>
                <a:lnTo>
                  <a:pt x="5181686" y="3936048"/>
                </a:lnTo>
                <a:lnTo>
                  <a:pt x="5176366" y="3938588"/>
                </a:lnTo>
                <a:lnTo>
                  <a:pt x="5171046" y="3941763"/>
                </a:lnTo>
                <a:lnTo>
                  <a:pt x="5165430" y="3944938"/>
                </a:lnTo>
                <a:lnTo>
                  <a:pt x="5160405" y="3948748"/>
                </a:lnTo>
                <a:lnTo>
                  <a:pt x="5155380" y="3952240"/>
                </a:lnTo>
                <a:lnTo>
                  <a:pt x="5150947" y="3956368"/>
                </a:lnTo>
                <a:lnTo>
                  <a:pt x="5146218" y="3960813"/>
                </a:lnTo>
                <a:lnTo>
                  <a:pt x="5141488" y="3965575"/>
                </a:lnTo>
                <a:lnTo>
                  <a:pt x="5137646" y="3970655"/>
                </a:lnTo>
                <a:lnTo>
                  <a:pt x="5133508" y="3975100"/>
                </a:lnTo>
                <a:lnTo>
                  <a:pt x="5129961" y="3980498"/>
                </a:lnTo>
                <a:lnTo>
                  <a:pt x="5126710" y="3985578"/>
                </a:lnTo>
                <a:lnTo>
                  <a:pt x="5123754" y="3990975"/>
                </a:lnTo>
                <a:lnTo>
                  <a:pt x="5121094" y="3996373"/>
                </a:lnTo>
                <a:lnTo>
                  <a:pt x="5118729" y="4002088"/>
                </a:lnTo>
                <a:lnTo>
                  <a:pt x="5116660" y="4007803"/>
                </a:lnTo>
                <a:lnTo>
                  <a:pt x="5114591" y="4013518"/>
                </a:lnTo>
                <a:lnTo>
                  <a:pt x="5113113" y="4019233"/>
                </a:lnTo>
                <a:lnTo>
                  <a:pt x="5111636" y="4025265"/>
                </a:lnTo>
                <a:cubicBezTo>
                  <a:pt x="5111439" y="4027276"/>
                  <a:pt x="5111241" y="4029287"/>
                  <a:pt x="5111044" y="4031298"/>
                </a:cubicBezTo>
                <a:lnTo>
                  <a:pt x="5110158" y="4037013"/>
                </a:lnTo>
                <a:cubicBezTo>
                  <a:pt x="5110059" y="4039024"/>
                  <a:pt x="5109961" y="4041034"/>
                  <a:pt x="5109862" y="4043045"/>
                </a:cubicBezTo>
                <a:cubicBezTo>
                  <a:pt x="5109764" y="4045056"/>
                  <a:pt x="5109665" y="4047067"/>
                  <a:pt x="5109567" y="4049078"/>
                </a:cubicBezTo>
                <a:cubicBezTo>
                  <a:pt x="5109665" y="4051089"/>
                  <a:pt x="5109764" y="4053099"/>
                  <a:pt x="5109862" y="4055110"/>
                </a:cubicBezTo>
                <a:cubicBezTo>
                  <a:pt x="5109961" y="4057121"/>
                  <a:pt x="5110059" y="4059132"/>
                  <a:pt x="5110158" y="4061143"/>
                </a:cubicBezTo>
                <a:lnTo>
                  <a:pt x="5111044" y="4066858"/>
                </a:lnTo>
                <a:cubicBezTo>
                  <a:pt x="5111241" y="4068869"/>
                  <a:pt x="5111439" y="4070879"/>
                  <a:pt x="5111636" y="4072890"/>
                </a:cubicBezTo>
                <a:lnTo>
                  <a:pt x="5113113" y="4078605"/>
                </a:lnTo>
                <a:lnTo>
                  <a:pt x="5114591" y="4084320"/>
                </a:lnTo>
                <a:lnTo>
                  <a:pt x="5116660" y="4090035"/>
                </a:lnTo>
                <a:lnTo>
                  <a:pt x="5118729" y="4095750"/>
                </a:lnTo>
                <a:lnTo>
                  <a:pt x="5121094" y="4101783"/>
                </a:lnTo>
                <a:lnTo>
                  <a:pt x="5123754" y="4107180"/>
                </a:lnTo>
                <a:lnTo>
                  <a:pt x="5126710" y="4112578"/>
                </a:lnTo>
                <a:lnTo>
                  <a:pt x="5129961" y="4117975"/>
                </a:lnTo>
                <a:lnTo>
                  <a:pt x="5133508" y="4122738"/>
                </a:lnTo>
                <a:lnTo>
                  <a:pt x="5137646" y="4127818"/>
                </a:lnTo>
                <a:lnTo>
                  <a:pt x="5141488" y="4132580"/>
                </a:lnTo>
                <a:lnTo>
                  <a:pt x="5146218" y="4137343"/>
                </a:lnTo>
                <a:lnTo>
                  <a:pt x="5870075" y="4860925"/>
                </a:lnTo>
                <a:lnTo>
                  <a:pt x="5874509" y="4865688"/>
                </a:lnTo>
                <a:lnTo>
                  <a:pt x="5878646" y="4870768"/>
                </a:lnTo>
                <a:lnTo>
                  <a:pt x="5882489" y="4875848"/>
                </a:lnTo>
                <a:lnTo>
                  <a:pt x="5886036" y="4880928"/>
                </a:lnTo>
                <a:lnTo>
                  <a:pt x="5889287" y="4885690"/>
                </a:lnTo>
                <a:lnTo>
                  <a:pt x="5892243" y="4891088"/>
                </a:lnTo>
                <a:lnTo>
                  <a:pt x="5895199" y="4897120"/>
                </a:lnTo>
                <a:lnTo>
                  <a:pt x="5897268" y="4902518"/>
                </a:lnTo>
                <a:lnTo>
                  <a:pt x="5899336" y="4908233"/>
                </a:lnTo>
                <a:lnTo>
                  <a:pt x="5901701" y="4913948"/>
                </a:lnTo>
                <a:lnTo>
                  <a:pt x="5902883" y="4919663"/>
                </a:lnTo>
                <a:lnTo>
                  <a:pt x="5904066" y="4925695"/>
                </a:lnTo>
                <a:lnTo>
                  <a:pt x="5905248" y="4931410"/>
                </a:lnTo>
                <a:cubicBezTo>
                  <a:pt x="5905445" y="4933421"/>
                  <a:pt x="5905643" y="4935432"/>
                  <a:pt x="5905840" y="4937443"/>
                </a:cubicBezTo>
                <a:cubicBezTo>
                  <a:pt x="5905938" y="4939454"/>
                  <a:pt x="5906037" y="4941464"/>
                  <a:pt x="5906135" y="4943475"/>
                </a:cubicBezTo>
                <a:lnTo>
                  <a:pt x="5906726" y="4949508"/>
                </a:lnTo>
                <a:lnTo>
                  <a:pt x="5906135" y="4955223"/>
                </a:lnTo>
                <a:cubicBezTo>
                  <a:pt x="5906037" y="4957234"/>
                  <a:pt x="5905938" y="4959244"/>
                  <a:pt x="5905840" y="4961255"/>
                </a:cubicBezTo>
                <a:cubicBezTo>
                  <a:pt x="5905643" y="4963266"/>
                  <a:pt x="5905445" y="4965277"/>
                  <a:pt x="5905248" y="4967288"/>
                </a:cubicBezTo>
                <a:lnTo>
                  <a:pt x="5904066" y="4973003"/>
                </a:lnTo>
                <a:lnTo>
                  <a:pt x="5902883" y="4979035"/>
                </a:lnTo>
                <a:lnTo>
                  <a:pt x="5901701" y="4985068"/>
                </a:lnTo>
                <a:lnTo>
                  <a:pt x="5899336" y="4990783"/>
                </a:lnTo>
                <a:lnTo>
                  <a:pt x="5897268" y="4996180"/>
                </a:lnTo>
                <a:lnTo>
                  <a:pt x="5895199" y="5001895"/>
                </a:lnTo>
                <a:lnTo>
                  <a:pt x="5892243" y="5007293"/>
                </a:lnTo>
                <a:lnTo>
                  <a:pt x="5889287" y="5012690"/>
                </a:lnTo>
                <a:lnTo>
                  <a:pt x="5886036" y="5018088"/>
                </a:lnTo>
                <a:lnTo>
                  <a:pt x="5882489" y="5023168"/>
                </a:lnTo>
                <a:lnTo>
                  <a:pt x="5878646" y="5028248"/>
                </a:lnTo>
                <a:lnTo>
                  <a:pt x="5874509" y="5032693"/>
                </a:lnTo>
                <a:lnTo>
                  <a:pt x="5870075" y="5037455"/>
                </a:lnTo>
                <a:lnTo>
                  <a:pt x="5865346" y="5041900"/>
                </a:lnTo>
                <a:lnTo>
                  <a:pt x="5860617" y="5046028"/>
                </a:lnTo>
                <a:lnTo>
                  <a:pt x="5855592" y="5050155"/>
                </a:lnTo>
                <a:lnTo>
                  <a:pt x="5850567" y="5053648"/>
                </a:lnTo>
                <a:lnTo>
                  <a:pt x="5845247" y="5056823"/>
                </a:lnTo>
                <a:lnTo>
                  <a:pt x="5839926" y="5059680"/>
                </a:lnTo>
                <a:lnTo>
                  <a:pt x="5834311" y="5062538"/>
                </a:lnTo>
                <a:lnTo>
                  <a:pt x="5828695" y="5064760"/>
                </a:lnTo>
                <a:lnTo>
                  <a:pt x="5823375" y="5066983"/>
                </a:lnTo>
                <a:lnTo>
                  <a:pt x="5817463" y="5069205"/>
                </a:lnTo>
                <a:lnTo>
                  <a:pt x="5811552" y="5070475"/>
                </a:lnTo>
                <a:lnTo>
                  <a:pt x="5805640" y="5071428"/>
                </a:lnTo>
                <a:lnTo>
                  <a:pt x="5800024" y="5072698"/>
                </a:lnTo>
                <a:lnTo>
                  <a:pt x="5793817" y="5073333"/>
                </a:lnTo>
                <a:lnTo>
                  <a:pt x="5787610" y="5073650"/>
                </a:lnTo>
                <a:lnTo>
                  <a:pt x="5781994" y="5073968"/>
                </a:lnTo>
                <a:lnTo>
                  <a:pt x="5775787" y="5073650"/>
                </a:lnTo>
                <a:lnTo>
                  <a:pt x="5770171" y="5073333"/>
                </a:lnTo>
                <a:lnTo>
                  <a:pt x="5763965" y="5072698"/>
                </a:lnTo>
                <a:lnTo>
                  <a:pt x="5758349" y="5071428"/>
                </a:lnTo>
                <a:lnTo>
                  <a:pt x="5752141" y="5070475"/>
                </a:lnTo>
                <a:lnTo>
                  <a:pt x="5746526" y="5069205"/>
                </a:lnTo>
                <a:lnTo>
                  <a:pt x="5740614" y="5066983"/>
                </a:lnTo>
                <a:lnTo>
                  <a:pt x="5734998" y="5064760"/>
                </a:lnTo>
                <a:lnTo>
                  <a:pt x="5729382" y="5062538"/>
                </a:lnTo>
                <a:lnTo>
                  <a:pt x="5723767" y="5059680"/>
                </a:lnTo>
                <a:lnTo>
                  <a:pt x="5718446" y="5056823"/>
                </a:lnTo>
                <a:lnTo>
                  <a:pt x="5713421" y="5053648"/>
                </a:lnTo>
                <a:lnTo>
                  <a:pt x="5708396" y="5050155"/>
                </a:lnTo>
                <a:lnTo>
                  <a:pt x="5703372" y="5046028"/>
                </a:lnTo>
                <a:lnTo>
                  <a:pt x="5698347" y="5041900"/>
                </a:lnTo>
                <a:lnTo>
                  <a:pt x="5693618" y="5037455"/>
                </a:lnTo>
                <a:lnTo>
                  <a:pt x="5598148" y="4941888"/>
                </a:lnTo>
                <a:lnTo>
                  <a:pt x="5490560" y="4834573"/>
                </a:lnTo>
                <a:lnTo>
                  <a:pt x="5485830" y="4830128"/>
                </a:lnTo>
                <a:lnTo>
                  <a:pt x="5481397" y="4826000"/>
                </a:lnTo>
                <a:lnTo>
                  <a:pt x="5476372" y="4821873"/>
                </a:lnTo>
                <a:lnTo>
                  <a:pt x="5471348" y="4818380"/>
                </a:lnTo>
                <a:lnTo>
                  <a:pt x="5465732" y="4815205"/>
                </a:lnTo>
                <a:lnTo>
                  <a:pt x="5460411" y="4812348"/>
                </a:lnTo>
                <a:lnTo>
                  <a:pt x="5455091" y="4809173"/>
                </a:lnTo>
                <a:lnTo>
                  <a:pt x="5449475" y="4807268"/>
                </a:lnTo>
                <a:lnTo>
                  <a:pt x="5443563" y="4805045"/>
                </a:lnTo>
                <a:lnTo>
                  <a:pt x="5437948" y="4802823"/>
                </a:lnTo>
                <a:lnTo>
                  <a:pt x="5432036" y="4801553"/>
                </a:lnTo>
                <a:lnTo>
                  <a:pt x="5426420" y="4800283"/>
                </a:lnTo>
                <a:lnTo>
                  <a:pt x="5420509" y="4799330"/>
                </a:lnTo>
                <a:lnTo>
                  <a:pt x="5414597" y="4798695"/>
                </a:lnTo>
                <a:lnTo>
                  <a:pt x="5408391" y="4798060"/>
                </a:lnTo>
                <a:lnTo>
                  <a:pt x="5402775" y="4797743"/>
                </a:lnTo>
                <a:lnTo>
                  <a:pt x="5396568" y="4798060"/>
                </a:lnTo>
                <a:lnTo>
                  <a:pt x="5390361" y="4798695"/>
                </a:lnTo>
                <a:lnTo>
                  <a:pt x="5384745" y="4799330"/>
                </a:lnTo>
                <a:lnTo>
                  <a:pt x="5378538" y="4800283"/>
                </a:lnTo>
                <a:lnTo>
                  <a:pt x="5372922" y="4801553"/>
                </a:lnTo>
                <a:lnTo>
                  <a:pt x="5367010" y="4802823"/>
                </a:lnTo>
                <a:lnTo>
                  <a:pt x="5361394" y="4805045"/>
                </a:lnTo>
                <a:lnTo>
                  <a:pt x="5355483" y="4807268"/>
                </a:lnTo>
                <a:lnTo>
                  <a:pt x="5350163" y="4809173"/>
                </a:lnTo>
                <a:lnTo>
                  <a:pt x="5344547" y="4812348"/>
                </a:lnTo>
                <a:lnTo>
                  <a:pt x="5338931" y="4815205"/>
                </a:lnTo>
                <a:lnTo>
                  <a:pt x="5333906" y="4818380"/>
                </a:lnTo>
                <a:lnTo>
                  <a:pt x="5328881" y="4821873"/>
                </a:lnTo>
                <a:lnTo>
                  <a:pt x="5323857" y="4826000"/>
                </a:lnTo>
                <a:lnTo>
                  <a:pt x="5318832" y="4830128"/>
                </a:lnTo>
                <a:lnTo>
                  <a:pt x="5314398" y="4834573"/>
                </a:lnTo>
                <a:lnTo>
                  <a:pt x="5307305" y="4841875"/>
                </a:lnTo>
                <a:lnTo>
                  <a:pt x="5301393" y="4849813"/>
                </a:lnTo>
                <a:lnTo>
                  <a:pt x="5295482" y="4858068"/>
                </a:lnTo>
                <a:lnTo>
                  <a:pt x="5291048" y="4867275"/>
                </a:lnTo>
                <a:lnTo>
                  <a:pt x="5286910" y="4875848"/>
                </a:lnTo>
                <a:lnTo>
                  <a:pt x="5283659" y="4885055"/>
                </a:lnTo>
                <a:lnTo>
                  <a:pt x="5281294" y="4894580"/>
                </a:lnTo>
                <a:lnTo>
                  <a:pt x="5279521" y="4903788"/>
                </a:lnTo>
                <a:lnTo>
                  <a:pt x="5278339" y="4913630"/>
                </a:lnTo>
                <a:lnTo>
                  <a:pt x="5278339" y="4923155"/>
                </a:lnTo>
                <a:cubicBezTo>
                  <a:pt x="5278437" y="4926436"/>
                  <a:pt x="5278536" y="4929717"/>
                  <a:pt x="5278634" y="4932998"/>
                </a:cubicBezTo>
                <a:lnTo>
                  <a:pt x="5279816" y="4942205"/>
                </a:lnTo>
                <a:lnTo>
                  <a:pt x="5281885" y="4952048"/>
                </a:lnTo>
                <a:lnTo>
                  <a:pt x="5284546" y="4960938"/>
                </a:lnTo>
                <a:lnTo>
                  <a:pt x="5288092" y="4970145"/>
                </a:lnTo>
                <a:lnTo>
                  <a:pt x="5291935" y="4979353"/>
                </a:lnTo>
                <a:lnTo>
                  <a:pt x="5583665" y="5270500"/>
                </a:lnTo>
                <a:lnTo>
                  <a:pt x="5588098" y="5275263"/>
                </a:lnTo>
                <a:lnTo>
                  <a:pt x="5592237" y="5280343"/>
                </a:lnTo>
                <a:lnTo>
                  <a:pt x="5595784" y="5284788"/>
                </a:lnTo>
                <a:lnTo>
                  <a:pt x="5599626" y="5290185"/>
                </a:lnTo>
                <a:lnTo>
                  <a:pt x="5602582" y="5295265"/>
                </a:lnTo>
                <a:lnTo>
                  <a:pt x="5605833" y="5300663"/>
                </a:lnTo>
                <a:lnTo>
                  <a:pt x="5608493" y="5306060"/>
                </a:lnTo>
                <a:lnTo>
                  <a:pt x="5610857" y="5311775"/>
                </a:lnTo>
                <a:lnTo>
                  <a:pt x="5613222" y="5317490"/>
                </a:lnTo>
                <a:lnTo>
                  <a:pt x="5614996" y="5323523"/>
                </a:lnTo>
                <a:lnTo>
                  <a:pt x="5616474" y="5329238"/>
                </a:lnTo>
                <a:lnTo>
                  <a:pt x="5617656" y="5334953"/>
                </a:lnTo>
                <a:lnTo>
                  <a:pt x="5618838" y="5340985"/>
                </a:lnTo>
                <a:lnTo>
                  <a:pt x="5619725" y="5346700"/>
                </a:lnTo>
                <a:cubicBezTo>
                  <a:pt x="5619824" y="5348711"/>
                  <a:pt x="5619922" y="5350722"/>
                  <a:pt x="5620021" y="5352733"/>
                </a:cubicBezTo>
                <a:lnTo>
                  <a:pt x="5620021" y="5359083"/>
                </a:lnTo>
                <a:lnTo>
                  <a:pt x="5620021" y="5364798"/>
                </a:lnTo>
                <a:cubicBezTo>
                  <a:pt x="5619922" y="5366809"/>
                  <a:pt x="5619824" y="5368819"/>
                  <a:pt x="5619725" y="5370830"/>
                </a:cubicBezTo>
                <a:lnTo>
                  <a:pt x="5618838" y="5376545"/>
                </a:lnTo>
                <a:lnTo>
                  <a:pt x="5617656" y="5382578"/>
                </a:lnTo>
                <a:lnTo>
                  <a:pt x="5616474" y="5388293"/>
                </a:lnTo>
                <a:lnTo>
                  <a:pt x="5614996" y="5394008"/>
                </a:lnTo>
                <a:lnTo>
                  <a:pt x="5613222" y="5400040"/>
                </a:lnTo>
                <a:lnTo>
                  <a:pt x="5610857" y="5405755"/>
                </a:lnTo>
                <a:lnTo>
                  <a:pt x="5608493" y="5411470"/>
                </a:lnTo>
                <a:lnTo>
                  <a:pt x="5605833" y="5416868"/>
                </a:lnTo>
                <a:lnTo>
                  <a:pt x="5602582" y="5422265"/>
                </a:lnTo>
                <a:lnTo>
                  <a:pt x="5599626" y="5427663"/>
                </a:lnTo>
                <a:lnTo>
                  <a:pt x="5595784" y="5432743"/>
                </a:lnTo>
                <a:lnTo>
                  <a:pt x="5592237" y="5437505"/>
                </a:lnTo>
                <a:lnTo>
                  <a:pt x="5588098" y="5442268"/>
                </a:lnTo>
                <a:lnTo>
                  <a:pt x="5583665" y="5447030"/>
                </a:lnTo>
                <a:lnTo>
                  <a:pt x="5578936" y="5451158"/>
                </a:lnTo>
                <a:lnTo>
                  <a:pt x="5573911" y="5455603"/>
                </a:lnTo>
                <a:lnTo>
                  <a:pt x="5569182" y="5459095"/>
                </a:lnTo>
                <a:lnTo>
                  <a:pt x="5563862" y="5462905"/>
                </a:lnTo>
                <a:lnTo>
                  <a:pt x="5558837" y="5466080"/>
                </a:lnTo>
                <a:lnTo>
                  <a:pt x="5553517" y="5469255"/>
                </a:lnTo>
                <a:lnTo>
                  <a:pt x="5548196" y="5471795"/>
                </a:lnTo>
                <a:lnTo>
                  <a:pt x="5542285" y="5474335"/>
                </a:lnTo>
                <a:lnTo>
                  <a:pt x="5536964" y="5476558"/>
                </a:lnTo>
                <a:lnTo>
                  <a:pt x="5531348" y="5478145"/>
                </a:lnTo>
                <a:lnTo>
                  <a:pt x="5525437" y="5479733"/>
                </a:lnTo>
                <a:lnTo>
                  <a:pt x="5519230" y="5481003"/>
                </a:lnTo>
                <a:lnTo>
                  <a:pt x="5513614" y="5482273"/>
                </a:lnTo>
                <a:lnTo>
                  <a:pt x="5507999" y="5482908"/>
                </a:lnTo>
                <a:lnTo>
                  <a:pt x="5501791" y="5483225"/>
                </a:lnTo>
                <a:lnTo>
                  <a:pt x="5495585" y="5483543"/>
                </a:lnTo>
                <a:lnTo>
                  <a:pt x="6873545" y="6858000"/>
                </a:lnTo>
                <a:lnTo>
                  <a:pt x="9595474" y="6858000"/>
                </a:lnTo>
                <a:lnTo>
                  <a:pt x="9595474" y="0"/>
                </a:lnTo>
                <a:close/>
              </a:path>
            </a:pathLst>
          </a:custGeom>
          <a:solidFill>
            <a:schemeClr val="bg2">
              <a:lumMod val="10000"/>
              <a:alpha val="82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R="0" lvl="0" indent="0" defTabSz="91435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EEC96307-E1F8-45A5-8027-B1FEED65351B}"/>
              </a:ext>
            </a:extLst>
          </p:cNvPr>
          <p:cNvSpPr>
            <a:spLocks/>
          </p:cNvSpPr>
          <p:nvPr userDrawn="1"/>
        </p:nvSpPr>
        <p:spPr bwMode="auto">
          <a:xfrm flipH="1">
            <a:off x="4182225" y="0"/>
            <a:ext cx="8009775" cy="6858000"/>
          </a:xfrm>
          <a:custGeom>
            <a:avLst/>
            <a:gdLst>
              <a:gd name="connsiteX0" fmla="*/ 2596527 w 8009775"/>
              <a:gd name="connsiteY0" fmla="*/ 0 h 6858001"/>
              <a:gd name="connsiteX1" fmla="*/ 2165004 w 8009775"/>
              <a:gd name="connsiteY1" fmla="*/ 0 h 6858001"/>
              <a:gd name="connsiteX2" fmla="*/ 3265978 w 8009775"/>
              <a:gd name="connsiteY2" fmla="*/ 1101091 h 6858001"/>
              <a:gd name="connsiteX3" fmla="*/ 3270708 w 8009775"/>
              <a:gd name="connsiteY3" fmla="*/ 1105854 h 6858001"/>
              <a:gd name="connsiteX4" fmla="*/ 3274550 w 8009775"/>
              <a:gd name="connsiteY4" fmla="*/ 1110615 h 6858001"/>
              <a:gd name="connsiteX5" fmla="*/ 3278688 w 8009775"/>
              <a:gd name="connsiteY5" fmla="*/ 1115696 h 6858001"/>
              <a:gd name="connsiteX6" fmla="*/ 3282234 w 8009775"/>
              <a:gd name="connsiteY6" fmla="*/ 1120776 h 6858001"/>
              <a:gd name="connsiteX7" fmla="*/ 3285486 w 8009775"/>
              <a:gd name="connsiteY7" fmla="*/ 1126174 h 6858001"/>
              <a:gd name="connsiteX8" fmla="*/ 3288146 w 8009775"/>
              <a:gd name="connsiteY8" fmla="*/ 1131570 h 6858001"/>
              <a:gd name="connsiteX9" fmla="*/ 3291101 w 8009775"/>
              <a:gd name="connsiteY9" fmla="*/ 1136968 h 6858001"/>
              <a:gd name="connsiteX10" fmla="*/ 3293761 w 8009775"/>
              <a:gd name="connsiteY10" fmla="*/ 1142366 h 6858001"/>
              <a:gd name="connsiteX11" fmla="*/ 3295830 w 8009775"/>
              <a:gd name="connsiteY11" fmla="*/ 1148081 h 6858001"/>
              <a:gd name="connsiteX12" fmla="*/ 3297604 w 8009775"/>
              <a:gd name="connsiteY12" fmla="*/ 1153796 h 6858001"/>
              <a:gd name="connsiteX13" fmla="*/ 3299082 w 8009775"/>
              <a:gd name="connsiteY13" fmla="*/ 1159829 h 6858001"/>
              <a:gd name="connsiteX14" fmla="*/ 3300559 w 8009775"/>
              <a:gd name="connsiteY14" fmla="*/ 1165544 h 6858001"/>
              <a:gd name="connsiteX15" fmla="*/ 3301446 w 8009775"/>
              <a:gd name="connsiteY15" fmla="*/ 1171893 h 6858001"/>
              <a:gd name="connsiteX16" fmla="*/ 3302333 w 8009775"/>
              <a:gd name="connsiteY16" fmla="*/ 1177608 h 6858001"/>
              <a:gd name="connsiteX17" fmla="*/ 3302628 w 8009775"/>
              <a:gd name="connsiteY17" fmla="*/ 1183641 h 6858001"/>
              <a:gd name="connsiteX18" fmla="*/ 3302628 w 8009775"/>
              <a:gd name="connsiteY18" fmla="*/ 1189356 h 6858001"/>
              <a:gd name="connsiteX19" fmla="*/ 3302628 w 8009775"/>
              <a:gd name="connsiteY19" fmla="*/ 1195388 h 6858001"/>
              <a:gd name="connsiteX20" fmla="*/ 3302333 w 8009775"/>
              <a:gd name="connsiteY20" fmla="*/ 1201739 h 6858001"/>
              <a:gd name="connsiteX21" fmla="*/ 3301446 w 8009775"/>
              <a:gd name="connsiteY21" fmla="*/ 1207454 h 6858001"/>
              <a:gd name="connsiteX22" fmla="*/ 3300559 w 8009775"/>
              <a:gd name="connsiteY22" fmla="*/ 1213486 h 6858001"/>
              <a:gd name="connsiteX23" fmla="*/ 3299082 w 8009775"/>
              <a:gd name="connsiteY23" fmla="*/ 1219200 h 6858001"/>
              <a:gd name="connsiteX24" fmla="*/ 3297604 w 8009775"/>
              <a:gd name="connsiteY24" fmla="*/ 1225233 h 6858001"/>
              <a:gd name="connsiteX25" fmla="*/ 3295830 w 8009775"/>
              <a:gd name="connsiteY25" fmla="*/ 1230949 h 6858001"/>
              <a:gd name="connsiteX26" fmla="*/ 3293761 w 8009775"/>
              <a:gd name="connsiteY26" fmla="*/ 1236346 h 6858001"/>
              <a:gd name="connsiteX27" fmla="*/ 3291101 w 8009775"/>
              <a:gd name="connsiteY27" fmla="*/ 1242061 h 6858001"/>
              <a:gd name="connsiteX28" fmla="*/ 3288146 w 8009775"/>
              <a:gd name="connsiteY28" fmla="*/ 1247459 h 6858001"/>
              <a:gd name="connsiteX29" fmla="*/ 3285486 w 8009775"/>
              <a:gd name="connsiteY29" fmla="*/ 1252855 h 6858001"/>
              <a:gd name="connsiteX30" fmla="*/ 3282234 w 8009775"/>
              <a:gd name="connsiteY30" fmla="*/ 1258254 h 6858001"/>
              <a:gd name="connsiteX31" fmla="*/ 3278688 w 8009775"/>
              <a:gd name="connsiteY31" fmla="*/ 1263333 h 6858001"/>
              <a:gd name="connsiteX32" fmla="*/ 3274550 w 8009775"/>
              <a:gd name="connsiteY32" fmla="*/ 1268413 h 6858001"/>
              <a:gd name="connsiteX33" fmla="*/ 3270708 w 8009775"/>
              <a:gd name="connsiteY33" fmla="*/ 1273494 h 6858001"/>
              <a:gd name="connsiteX34" fmla="*/ 3265978 w 8009775"/>
              <a:gd name="connsiteY34" fmla="*/ 1278255 h 6858001"/>
              <a:gd name="connsiteX35" fmla="*/ 3261249 w 8009775"/>
              <a:gd name="connsiteY35" fmla="*/ 1282384 h 6858001"/>
              <a:gd name="connsiteX36" fmla="*/ 3256816 w 8009775"/>
              <a:gd name="connsiteY36" fmla="*/ 1286510 h 6858001"/>
              <a:gd name="connsiteX37" fmla="*/ 3251791 w 8009775"/>
              <a:gd name="connsiteY37" fmla="*/ 1290321 h 6858001"/>
              <a:gd name="connsiteX38" fmla="*/ 3246767 w 8009775"/>
              <a:gd name="connsiteY38" fmla="*/ 1293814 h 6858001"/>
              <a:gd name="connsiteX39" fmla="*/ 3241151 w 8009775"/>
              <a:gd name="connsiteY39" fmla="*/ 1297306 h 6858001"/>
              <a:gd name="connsiteX40" fmla="*/ 3235831 w 8009775"/>
              <a:gd name="connsiteY40" fmla="*/ 1300481 h 6858001"/>
              <a:gd name="connsiteX41" fmla="*/ 3230511 w 8009775"/>
              <a:gd name="connsiteY41" fmla="*/ 1303021 h 6858001"/>
              <a:gd name="connsiteX42" fmla="*/ 3224600 w 8009775"/>
              <a:gd name="connsiteY42" fmla="*/ 1305560 h 6858001"/>
              <a:gd name="connsiteX43" fmla="*/ 3218984 w 8009775"/>
              <a:gd name="connsiteY43" fmla="*/ 1307465 h 6858001"/>
              <a:gd name="connsiteX44" fmla="*/ 3213072 w 8009775"/>
              <a:gd name="connsiteY44" fmla="*/ 1309371 h 6858001"/>
              <a:gd name="connsiteX45" fmla="*/ 3207457 w 8009775"/>
              <a:gd name="connsiteY45" fmla="*/ 1311275 h 6858001"/>
              <a:gd name="connsiteX46" fmla="*/ 3201841 w 8009775"/>
              <a:gd name="connsiteY46" fmla="*/ 1312228 h 6858001"/>
              <a:gd name="connsiteX47" fmla="*/ 3195634 w 8009775"/>
              <a:gd name="connsiteY47" fmla="*/ 1313180 h 6858001"/>
              <a:gd name="connsiteX48" fmla="*/ 3189428 w 8009775"/>
              <a:gd name="connsiteY48" fmla="*/ 1314133 h 6858001"/>
              <a:gd name="connsiteX49" fmla="*/ 3183812 w 8009775"/>
              <a:gd name="connsiteY49" fmla="*/ 1314450 h 6858001"/>
              <a:gd name="connsiteX50" fmla="*/ 3177605 w 8009775"/>
              <a:gd name="connsiteY50" fmla="*/ 1314769 h 6858001"/>
              <a:gd name="connsiteX51" fmla="*/ 3171694 w 8009775"/>
              <a:gd name="connsiteY51" fmla="*/ 1314450 h 6858001"/>
              <a:gd name="connsiteX52" fmla="*/ 3165782 w 8009775"/>
              <a:gd name="connsiteY52" fmla="*/ 1314133 h 6858001"/>
              <a:gd name="connsiteX53" fmla="*/ 3159576 w 8009775"/>
              <a:gd name="connsiteY53" fmla="*/ 1313180 h 6858001"/>
              <a:gd name="connsiteX54" fmla="*/ 3153960 w 8009775"/>
              <a:gd name="connsiteY54" fmla="*/ 1312228 h 6858001"/>
              <a:gd name="connsiteX55" fmla="*/ 3147753 w 8009775"/>
              <a:gd name="connsiteY55" fmla="*/ 1311275 h 6858001"/>
              <a:gd name="connsiteX56" fmla="*/ 3142137 w 8009775"/>
              <a:gd name="connsiteY56" fmla="*/ 1309371 h 6858001"/>
              <a:gd name="connsiteX57" fmla="*/ 3136226 w 8009775"/>
              <a:gd name="connsiteY57" fmla="*/ 1307465 h 6858001"/>
              <a:gd name="connsiteX58" fmla="*/ 3130610 w 8009775"/>
              <a:gd name="connsiteY58" fmla="*/ 1305560 h 6858001"/>
              <a:gd name="connsiteX59" fmla="*/ 3124994 w 8009775"/>
              <a:gd name="connsiteY59" fmla="*/ 1303021 h 6858001"/>
              <a:gd name="connsiteX60" fmla="*/ 3119379 w 8009775"/>
              <a:gd name="connsiteY60" fmla="*/ 1300481 h 6858001"/>
              <a:gd name="connsiteX61" fmla="*/ 3114059 w 8009775"/>
              <a:gd name="connsiteY61" fmla="*/ 1297306 h 6858001"/>
              <a:gd name="connsiteX62" fmla="*/ 3109034 w 8009775"/>
              <a:gd name="connsiteY62" fmla="*/ 1293814 h 6858001"/>
              <a:gd name="connsiteX63" fmla="*/ 3103714 w 8009775"/>
              <a:gd name="connsiteY63" fmla="*/ 1290321 h 6858001"/>
              <a:gd name="connsiteX64" fmla="*/ 3098689 w 8009775"/>
              <a:gd name="connsiteY64" fmla="*/ 1286510 h 6858001"/>
              <a:gd name="connsiteX65" fmla="*/ 3093960 w 8009775"/>
              <a:gd name="connsiteY65" fmla="*/ 1282384 h 6858001"/>
              <a:gd name="connsiteX66" fmla="*/ 3089231 w 8009775"/>
              <a:gd name="connsiteY66" fmla="*/ 1278255 h 6858001"/>
              <a:gd name="connsiteX67" fmla="*/ 1811214 w 8009775"/>
              <a:gd name="connsiteY67" fmla="*/ 0 h 6858001"/>
              <a:gd name="connsiteX68" fmla="*/ 551808 w 8009775"/>
              <a:gd name="connsiteY68" fmla="*/ 0 h 6858001"/>
              <a:gd name="connsiteX69" fmla="*/ 408933 w 8009775"/>
              <a:gd name="connsiteY69" fmla="*/ 0 h 6858001"/>
              <a:gd name="connsiteX70" fmla="*/ 55488 w 8009775"/>
              <a:gd name="connsiteY70" fmla="*/ 0 h 6858001"/>
              <a:gd name="connsiteX71" fmla="*/ 0 w 8009775"/>
              <a:gd name="connsiteY71" fmla="*/ 0 h 6858001"/>
              <a:gd name="connsiteX72" fmla="*/ 0 w 8009775"/>
              <a:gd name="connsiteY72" fmla="*/ 6858000 h 6858001"/>
              <a:gd name="connsiteX73" fmla="*/ 7004395 w 8009775"/>
              <a:gd name="connsiteY73" fmla="*/ 6858000 h 6858001"/>
              <a:gd name="connsiteX74" fmla="*/ 7004396 w 8009775"/>
              <a:gd name="connsiteY74" fmla="*/ 6858001 h 6858001"/>
              <a:gd name="connsiteX75" fmla="*/ 7099646 w 8009775"/>
              <a:gd name="connsiteY75" fmla="*/ 6858001 h 6858001"/>
              <a:gd name="connsiteX76" fmla="*/ 7147271 w 8009775"/>
              <a:gd name="connsiteY76" fmla="*/ 6858001 h 6858001"/>
              <a:gd name="connsiteX77" fmla="*/ 7364776 w 8009775"/>
              <a:gd name="connsiteY77" fmla="*/ 6858001 h 6858001"/>
              <a:gd name="connsiteX78" fmla="*/ 7460026 w 8009775"/>
              <a:gd name="connsiteY78" fmla="*/ 6858001 h 6858001"/>
              <a:gd name="connsiteX79" fmla="*/ 7507651 w 8009775"/>
              <a:gd name="connsiteY79" fmla="*/ 6858001 h 6858001"/>
              <a:gd name="connsiteX80" fmla="*/ 7507650 w 8009775"/>
              <a:gd name="connsiteY80" fmla="*/ 6858000 h 6858001"/>
              <a:gd name="connsiteX81" fmla="*/ 8009775 w 8009775"/>
              <a:gd name="connsiteY81" fmla="*/ 6858000 h 6858001"/>
              <a:gd name="connsiteX82" fmla="*/ 3996316 w 8009775"/>
              <a:gd name="connsiteY82" fmla="*/ 2818448 h 6858001"/>
              <a:gd name="connsiteX83" fmla="*/ 3980947 w 8009775"/>
              <a:gd name="connsiteY83" fmla="*/ 2804795 h 6858001"/>
              <a:gd name="connsiteX84" fmla="*/ 3965282 w 8009775"/>
              <a:gd name="connsiteY84" fmla="*/ 2791144 h 6858001"/>
              <a:gd name="connsiteX85" fmla="*/ 3950799 w 8009775"/>
              <a:gd name="connsiteY85" fmla="*/ 2776856 h 6858001"/>
              <a:gd name="connsiteX86" fmla="*/ 3936021 w 8009775"/>
              <a:gd name="connsiteY86" fmla="*/ 2762568 h 6858001"/>
              <a:gd name="connsiteX87" fmla="*/ 3001744 w 8009775"/>
              <a:gd name="connsiteY87" fmla="*/ 1828166 h 6858001"/>
              <a:gd name="connsiteX88" fmla="*/ 2997311 w 8009775"/>
              <a:gd name="connsiteY88" fmla="*/ 1823404 h 6858001"/>
              <a:gd name="connsiteX89" fmla="*/ 2992878 w 8009775"/>
              <a:gd name="connsiteY89" fmla="*/ 1818640 h 6858001"/>
              <a:gd name="connsiteX90" fmla="*/ 2989331 w 8009775"/>
              <a:gd name="connsiteY90" fmla="*/ 1814195 h 6858001"/>
              <a:gd name="connsiteX91" fmla="*/ 2985784 w 8009775"/>
              <a:gd name="connsiteY91" fmla="*/ 1808799 h 6858001"/>
              <a:gd name="connsiteX92" fmla="*/ 2982533 w 8009775"/>
              <a:gd name="connsiteY92" fmla="*/ 1803718 h 6858001"/>
              <a:gd name="connsiteX93" fmla="*/ 2979873 w 8009775"/>
              <a:gd name="connsiteY93" fmla="*/ 1798321 h 6858001"/>
              <a:gd name="connsiteX94" fmla="*/ 2976917 w 8009775"/>
              <a:gd name="connsiteY94" fmla="*/ 1792924 h 6858001"/>
              <a:gd name="connsiteX95" fmla="*/ 2974552 w 8009775"/>
              <a:gd name="connsiteY95" fmla="*/ 1787526 h 6858001"/>
              <a:gd name="connsiteX96" fmla="*/ 2972484 w 8009775"/>
              <a:gd name="connsiteY96" fmla="*/ 1781811 h 6858001"/>
              <a:gd name="connsiteX97" fmla="*/ 2970710 w 8009775"/>
              <a:gd name="connsiteY97" fmla="*/ 1776095 h 6858001"/>
              <a:gd name="connsiteX98" fmla="*/ 2968937 w 8009775"/>
              <a:gd name="connsiteY98" fmla="*/ 1770380 h 6858001"/>
              <a:gd name="connsiteX99" fmla="*/ 2967755 w 8009775"/>
              <a:gd name="connsiteY99" fmla="*/ 1764665 h 6858001"/>
              <a:gd name="connsiteX100" fmla="*/ 2966868 w 8009775"/>
              <a:gd name="connsiteY100" fmla="*/ 1758634 h 6858001"/>
              <a:gd name="connsiteX101" fmla="*/ 2965981 w 8009775"/>
              <a:gd name="connsiteY101" fmla="*/ 1752919 h 6858001"/>
              <a:gd name="connsiteX102" fmla="*/ 2965686 w 8009775"/>
              <a:gd name="connsiteY102" fmla="*/ 1746885 h 6858001"/>
              <a:gd name="connsiteX103" fmla="*/ 2965686 w 8009775"/>
              <a:gd name="connsiteY103" fmla="*/ 1741170 h 6858001"/>
              <a:gd name="connsiteX104" fmla="*/ 2965686 w 8009775"/>
              <a:gd name="connsiteY104" fmla="*/ 1735139 h 6858001"/>
              <a:gd name="connsiteX105" fmla="*/ 2965981 w 8009775"/>
              <a:gd name="connsiteY105" fmla="*/ 1729424 h 6858001"/>
              <a:gd name="connsiteX106" fmla="*/ 2966868 w 8009775"/>
              <a:gd name="connsiteY106" fmla="*/ 1723074 h 6858001"/>
              <a:gd name="connsiteX107" fmla="*/ 2967755 w 8009775"/>
              <a:gd name="connsiteY107" fmla="*/ 1717358 h 6858001"/>
              <a:gd name="connsiteX108" fmla="*/ 2968937 w 8009775"/>
              <a:gd name="connsiteY108" fmla="*/ 1711643 h 6858001"/>
              <a:gd name="connsiteX109" fmla="*/ 2970710 w 8009775"/>
              <a:gd name="connsiteY109" fmla="*/ 1705929 h 6858001"/>
              <a:gd name="connsiteX110" fmla="*/ 2972484 w 8009775"/>
              <a:gd name="connsiteY110" fmla="*/ 1700214 h 6858001"/>
              <a:gd name="connsiteX111" fmla="*/ 2974552 w 8009775"/>
              <a:gd name="connsiteY111" fmla="*/ 1694816 h 6858001"/>
              <a:gd name="connsiteX112" fmla="*/ 2976917 w 8009775"/>
              <a:gd name="connsiteY112" fmla="*/ 1689101 h 6858001"/>
              <a:gd name="connsiteX113" fmla="*/ 2979873 w 8009775"/>
              <a:gd name="connsiteY113" fmla="*/ 1683703 h 6858001"/>
              <a:gd name="connsiteX114" fmla="*/ 2982533 w 8009775"/>
              <a:gd name="connsiteY114" fmla="*/ 1678305 h 6858001"/>
              <a:gd name="connsiteX115" fmla="*/ 2985784 w 8009775"/>
              <a:gd name="connsiteY115" fmla="*/ 1673226 h 6858001"/>
              <a:gd name="connsiteX116" fmla="*/ 2989331 w 8009775"/>
              <a:gd name="connsiteY116" fmla="*/ 1668145 h 6858001"/>
              <a:gd name="connsiteX117" fmla="*/ 2992878 w 8009775"/>
              <a:gd name="connsiteY117" fmla="*/ 1663066 h 6858001"/>
              <a:gd name="connsiteX118" fmla="*/ 2997311 w 8009775"/>
              <a:gd name="connsiteY118" fmla="*/ 1658621 h 6858001"/>
              <a:gd name="connsiteX119" fmla="*/ 3001744 w 8009775"/>
              <a:gd name="connsiteY119" fmla="*/ 1653859 h 6858001"/>
              <a:gd name="connsiteX120" fmla="*/ 3006178 w 8009775"/>
              <a:gd name="connsiteY120" fmla="*/ 1649414 h 6858001"/>
              <a:gd name="connsiteX121" fmla="*/ 3010907 w 8009775"/>
              <a:gd name="connsiteY121" fmla="*/ 1645603 h 6858001"/>
              <a:gd name="connsiteX122" fmla="*/ 3015932 w 8009775"/>
              <a:gd name="connsiteY122" fmla="*/ 1641794 h 6858001"/>
              <a:gd name="connsiteX123" fmla="*/ 3020956 w 8009775"/>
              <a:gd name="connsiteY123" fmla="*/ 1637984 h 6858001"/>
              <a:gd name="connsiteX124" fmla="*/ 3025981 w 8009775"/>
              <a:gd name="connsiteY124" fmla="*/ 1634809 h 6858001"/>
              <a:gd name="connsiteX125" fmla="*/ 3031596 w 8009775"/>
              <a:gd name="connsiteY125" fmla="*/ 1631950 h 6858001"/>
              <a:gd name="connsiteX126" fmla="*/ 3036916 w 8009775"/>
              <a:gd name="connsiteY126" fmla="*/ 1629094 h 6858001"/>
              <a:gd name="connsiteX127" fmla="*/ 3042532 w 8009775"/>
              <a:gd name="connsiteY127" fmla="*/ 1626871 h 6858001"/>
              <a:gd name="connsiteX128" fmla="*/ 3047852 w 8009775"/>
              <a:gd name="connsiteY128" fmla="*/ 1624649 h 6858001"/>
              <a:gd name="connsiteX129" fmla="*/ 3053764 w 8009775"/>
              <a:gd name="connsiteY129" fmla="*/ 1623061 h 6858001"/>
              <a:gd name="connsiteX130" fmla="*/ 3059379 w 8009775"/>
              <a:gd name="connsiteY130" fmla="*/ 1621155 h 6858001"/>
              <a:gd name="connsiteX131" fmla="*/ 3065291 w 8009775"/>
              <a:gd name="connsiteY131" fmla="*/ 1620204 h 6858001"/>
              <a:gd name="connsiteX132" fmla="*/ 3070906 w 8009775"/>
              <a:gd name="connsiteY132" fmla="*/ 1618934 h 6858001"/>
              <a:gd name="connsiteX133" fmla="*/ 3077113 w 8009775"/>
              <a:gd name="connsiteY133" fmla="*/ 1618299 h 6858001"/>
              <a:gd name="connsiteX134" fmla="*/ 3082729 w 8009775"/>
              <a:gd name="connsiteY134" fmla="*/ 1617981 h 6858001"/>
              <a:gd name="connsiteX135" fmla="*/ 3088936 w 8009775"/>
              <a:gd name="connsiteY135" fmla="*/ 1617981 h 6858001"/>
              <a:gd name="connsiteX136" fmla="*/ 3094552 w 8009775"/>
              <a:gd name="connsiteY136" fmla="*/ 1617981 h 6858001"/>
              <a:gd name="connsiteX137" fmla="*/ 3100758 w 8009775"/>
              <a:gd name="connsiteY137" fmla="*/ 1618299 h 6858001"/>
              <a:gd name="connsiteX138" fmla="*/ 3106670 w 8009775"/>
              <a:gd name="connsiteY138" fmla="*/ 1618934 h 6858001"/>
              <a:gd name="connsiteX139" fmla="*/ 3112285 w 8009775"/>
              <a:gd name="connsiteY139" fmla="*/ 1620204 h 6858001"/>
              <a:gd name="connsiteX140" fmla="*/ 3117901 w 8009775"/>
              <a:gd name="connsiteY140" fmla="*/ 1621155 h 6858001"/>
              <a:gd name="connsiteX141" fmla="*/ 3123812 w 8009775"/>
              <a:gd name="connsiteY141" fmla="*/ 1623061 h 6858001"/>
              <a:gd name="connsiteX142" fmla="*/ 3129428 w 8009775"/>
              <a:gd name="connsiteY142" fmla="*/ 1624649 h 6858001"/>
              <a:gd name="connsiteX143" fmla="*/ 3135339 w 8009775"/>
              <a:gd name="connsiteY143" fmla="*/ 1626871 h 6858001"/>
              <a:gd name="connsiteX144" fmla="*/ 3140660 w 8009775"/>
              <a:gd name="connsiteY144" fmla="*/ 1629094 h 6858001"/>
              <a:gd name="connsiteX145" fmla="*/ 3145980 w 8009775"/>
              <a:gd name="connsiteY145" fmla="*/ 1631950 h 6858001"/>
              <a:gd name="connsiteX146" fmla="*/ 3151300 w 8009775"/>
              <a:gd name="connsiteY146" fmla="*/ 1634809 h 6858001"/>
              <a:gd name="connsiteX147" fmla="*/ 3156324 w 8009775"/>
              <a:gd name="connsiteY147" fmla="*/ 1637984 h 6858001"/>
              <a:gd name="connsiteX148" fmla="*/ 3161349 w 8009775"/>
              <a:gd name="connsiteY148" fmla="*/ 1641794 h 6858001"/>
              <a:gd name="connsiteX149" fmla="*/ 3166374 w 8009775"/>
              <a:gd name="connsiteY149" fmla="*/ 1645603 h 6858001"/>
              <a:gd name="connsiteX150" fmla="*/ 3171102 w 8009775"/>
              <a:gd name="connsiteY150" fmla="*/ 1649414 h 6858001"/>
              <a:gd name="connsiteX151" fmla="*/ 3175832 w 8009775"/>
              <a:gd name="connsiteY151" fmla="*/ 1653859 h 6858001"/>
              <a:gd name="connsiteX152" fmla="*/ 3844692 w 8009775"/>
              <a:gd name="connsiteY152" fmla="*/ 2322830 h 6858001"/>
              <a:gd name="connsiteX153" fmla="*/ 3849421 w 8009775"/>
              <a:gd name="connsiteY153" fmla="*/ 2326958 h 6858001"/>
              <a:gd name="connsiteX154" fmla="*/ 3854150 w 8009775"/>
              <a:gd name="connsiteY154" fmla="*/ 2331085 h 6858001"/>
              <a:gd name="connsiteX155" fmla="*/ 3859175 w 8009775"/>
              <a:gd name="connsiteY155" fmla="*/ 2334895 h 6858001"/>
              <a:gd name="connsiteX156" fmla="*/ 3864199 w 8009775"/>
              <a:gd name="connsiteY156" fmla="*/ 2338705 h 6858001"/>
              <a:gd name="connsiteX157" fmla="*/ 3869224 w 8009775"/>
              <a:gd name="connsiteY157" fmla="*/ 2341880 h 6858001"/>
              <a:gd name="connsiteX158" fmla="*/ 3874544 w 8009775"/>
              <a:gd name="connsiteY158" fmla="*/ 2344738 h 6858001"/>
              <a:gd name="connsiteX159" fmla="*/ 3879864 w 8009775"/>
              <a:gd name="connsiteY159" fmla="*/ 2347595 h 6858001"/>
              <a:gd name="connsiteX160" fmla="*/ 3885775 w 8009775"/>
              <a:gd name="connsiteY160" fmla="*/ 2349818 h 6858001"/>
              <a:gd name="connsiteX161" fmla="*/ 3891096 w 8009775"/>
              <a:gd name="connsiteY161" fmla="*/ 2351723 h 6858001"/>
              <a:gd name="connsiteX162" fmla="*/ 3896711 w 8009775"/>
              <a:gd name="connsiteY162" fmla="*/ 2353628 h 6858001"/>
              <a:gd name="connsiteX163" fmla="*/ 3902623 w 8009775"/>
              <a:gd name="connsiteY163" fmla="*/ 2355534 h 6858001"/>
              <a:gd name="connsiteX164" fmla="*/ 3908238 w 8009775"/>
              <a:gd name="connsiteY164" fmla="*/ 2356485 h 6858001"/>
              <a:gd name="connsiteX165" fmla="*/ 3914150 w 8009775"/>
              <a:gd name="connsiteY165" fmla="*/ 2357755 h 6858001"/>
              <a:gd name="connsiteX166" fmla="*/ 3920061 w 8009775"/>
              <a:gd name="connsiteY166" fmla="*/ 2358391 h 6858001"/>
              <a:gd name="connsiteX167" fmla="*/ 3925972 w 8009775"/>
              <a:gd name="connsiteY167" fmla="*/ 2358708 h 6858001"/>
              <a:gd name="connsiteX168" fmla="*/ 3931883 w 8009775"/>
              <a:gd name="connsiteY168" fmla="*/ 2358708 h 6858001"/>
              <a:gd name="connsiteX169" fmla="*/ 3937795 w 8009775"/>
              <a:gd name="connsiteY169" fmla="*/ 2358708 h 6858001"/>
              <a:gd name="connsiteX170" fmla="*/ 3943706 w 8009775"/>
              <a:gd name="connsiteY170" fmla="*/ 2358391 h 6858001"/>
              <a:gd name="connsiteX171" fmla="*/ 3949617 w 8009775"/>
              <a:gd name="connsiteY171" fmla="*/ 2357755 h 6858001"/>
              <a:gd name="connsiteX172" fmla="*/ 3955233 w 8009775"/>
              <a:gd name="connsiteY172" fmla="*/ 2356485 h 6858001"/>
              <a:gd name="connsiteX173" fmla="*/ 3961144 w 8009775"/>
              <a:gd name="connsiteY173" fmla="*/ 2355534 h 6858001"/>
              <a:gd name="connsiteX174" fmla="*/ 3966760 w 8009775"/>
              <a:gd name="connsiteY174" fmla="*/ 2353628 h 6858001"/>
              <a:gd name="connsiteX175" fmla="*/ 3972671 w 8009775"/>
              <a:gd name="connsiteY175" fmla="*/ 2351723 h 6858001"/>
              <a:gd name="connsiteX176" fmla="*/ 3978287 w 8009775"/>
              <a:gd name="connsiteY176" fmla="*/ 2349818 h 6858001"/>
              <a:gd name="connsiteX177" fmla="*/ 3983607 w 8009775"/>
              <a:gd name="connsiteY177" fmla="*/ 2347595 h 6858001"/>
              <a:gd name="connsiteX178" fmla="*/ 3989223 w 8009775"/>
              <a:gd name="connsiteY178" fmla="*/ 2344738 h 6858001"/>
              <a:gd name="connsiteX179" fmla="*/ 3994543 w 8009775"/>
              <a:gd name="connsiteY179" fmla="*/ 2341880 h 6858001"/>
              <a:gd name="connsiteX180" fmla="*/ 3999567 w 8009775"/>
              <a:gd name="connsiteY180" fmla="*/ 2338705 h 6858001"/>
              <a:gd name="connsiteX181" fmla="*/ 4004888 w 8009775"/>
              <a:gd name="connsiteY181" fmla="*/ 2334895 h 6858001"/>
              <a:gd name="connsiteX182" fmla="*/ 4009617 w 8009775"/>
              <a:gd name="connsiteY182" fmla="*/ 2331085 h 6858001"/>
              <a:gd name="connsiteX183" fmla="*/ 4014346 w 8009775"/>
              <a:gd name="connsiteY183" fmla="*/ 2326958 h 6858001"/>
              <a:gd name="connsiteX184" fmla="*/ 4018779 w 8009775"/>
              <a:gd name="connsiteY184" fmla="*/ 2322830 h 6858001"/>
              <a:gd name="connsiteX185" fmla="*/ 4023213 w 8009775"/>
              <a:gd name="connsiteY185" fmla="*/ 2318068 h 6858001"/>
              <a:gd name="connsiteX186" fmla="*/ 4027646 w 8009775"/>
              <a:gd name="connsiteY186" fmla="*/ 2313306 h 6858001"/>
              <a:gd name="connsiteX187" fmla="*/ 4031193 w 8009775"/>
              <a:gd name="connsiteY187" fmla="*/ 2308544 h 6858001"/>
              <a:gd name="connsiteX188" fmla="*/ 4034740 w 8009775"/>
              <a:gd name="connsiteY188" fmla="*/ 2303463 h 6858001"/>
              <a:gd name="connsiteX189" fmla="*/ 4037991 w 8009775"/>
              <a:gd name="connsiteY189" fmla="*/ 2298384 h 6858001"/>
              <a:gd name="connsiteX190" fmla="*/ 4040946 w 8009775"/>
              <a:gd name="connsiteY190" fmla="*/ 2292985 h 6858001"/>
              <a:gd name="connsiteX191" fmla="*/ 4043606 w 8009775"/>
              <a:gd name="connsiteY191" fmla="*/ 2287588 h 6858001"/>
              <a:gd name="connsiteX192" fmla="*/ 4046267 w 8009775"/>
              <a:gd name="connsiteY192" fmla="*/ 2281873 h 6858001"/>
              <a:gd name="connsiteX193" fmla="*/ 4048040 w 8009775"/>
              <a:gd name="connsiteY193" fmla="*/ 2276476 h 6858001"/>
              <a:gd name="connsiteX194" fmla="*/ 4050109 w 8009775"/>
              <a:gd name="connsiteY194" fmla="*/ 2270761 h 6858001"/>
              <a:gd name="connsiteX195" fmla="*/ 4051587 w 8009775"/>
              <a:gd name="connsiteY195" fmla="*/ 2265046 h 6858001"/>
              <a:gd name="connsiteX196" fmla="*/ 4052769 w 8009775"/>
              <a:gd name="connsiteY196" fmla="*/ 2259331 h 6858001"/>
              <a:gd name="connsiteX197" fmla="*/ 4053656 w 8009775"/>
              <a:gd name="connsiteY197" fmla="*/ 2253298 h 6858001"/>
              <a:gd name="connsiteX198" fmla="*/ 4054542 w 8009775"/>
              <a:gd name="connsiteY198" fmla="*/ 2247266 h 6858001"/>
              <a:gd name="connsiteX199" fmla="*/ 4054838 w 8009775"/>
              <a:gd name="connsiteY199" fmla="*/ 2241551 h 6858001"/>
              <a:gd name="connsiteX200" fmla="*/ 4055133 w 8009775"/>
              <a:gd name="connsiteY200" fmla="*/ 2235519 h 6858001"/>
              <a:gd name="connsiteX201" fmla="*/ 4054838 w 8009775"/>
              <a:gd name="connsiteY201" fmla="*/ 2229804 h 6858001"/>
              <a:gd name="connsiteX202" fmla="*/ 4054542 w 8009775"/>
              <a:gd name="connsiteY202" fmla="*/ 2223770 h 6858001"/>
              <a:gd name="connsiteX203" fmla="*/ 4053656 w 8009775"/>
              <a:gd name="connsiteY203" fmla="*/ 2217739 h 6858001"/>
              <a:gd name="connsiteX204" fmla="*/ 4052769 w 8009775"/>
              <a:gd name="connsiteY204" fmla="*/ 2212024 h 6858001"/>
              <a:gd name="connsiteX205" fmla="*/ 4051587 w 8009775"/>
              <a:gd name="connsiteY205" fmla="*/ 2206309 h 6858001"/>
              <a:gd name="connsiteX206" fmla="*/ 4050109 w 8009775"/>
              <a:gd name="connsiteY206" fmla="*/ 2200593 h 6858001"/>
              <a:gd name="connsiteX207" fmla="*/ 4048040 w 8009775"/>
              <a:gd name="connsiteY207" fmla="*/ 2194878 h 6858001"/>
              <a:gd name="connsiteX208" fmla="*/ 4046267 w 8009775"/>
              <a:gd name="connsiteY208" fmla="*/ 2189163 h 6858001"/>
              <a:gd name="connsiteX209" fmla="*/ 4043606 w 8009775"/>
              <a:gd name="connsiteY209" fmla="*/ 2183765 h 6858001"/>
              <a:gd name="connsiteX210" fmla="*/ 4040946 w 8009775"/>
              <a:gd name="connsiteY210" fmla="*/ 2178368 h 6858001"/>
              <a:gd name="connsiteX211" fmla="*/ 4037991 w 8009775"/>
              <a:gd name="connsiteY211" fmla="*/ 2172970 h 6858001"/>
              <a:gd name="connsiteX212" fmla="*/ 4034740 w 8009775"/>
              <a:gd name="connsiteY212" fmla="*/ 2167890 h 6858001"/>
              <a:gd name="connsiteX213" fmla="*/ 4031193 w 8009775"/>
              <a:gd name="connsiteY213" fmla="*/ 2162494 h 6858001"/>
              <a:gd name="connsiteX214" fmla="*/ 4027646 w 8009775"/>
              <a:gd name="connsiteY214" fmla="*/ 2157730 h 6858001"/>
              <a:gd name="connsiteX215" fmla="*/ 4023213 w 8009775"/>
              <a:gd name="connsiteY215" fmla="*/ 2153285 h 6858001"/>
              <a:gd name="connsiteX216" fmla="*/ 4018779 w 8009775"/>
              <a:gd name="connsiteY216" fmla="*/ 2148523 h 6858001"/>
              <a:gd name="connsiteX217" fmla="*/ 3632182 w 8009775"/>
              <a:gd name="connsiteY217" fmla="*/ 1761490 h 6858001"/>
              <a:gd name="connsiteX218" fmla="*/ 3435928 w 8009775"/>
              <a:gd name="connsiteY218" fmla="*/ 1565276 h 6858001"/>
              <a:gd name="connsiteX219" fmla="*/ 3431198 w 8009775"/>
              <a:gd name="connsiteY219" fmla="*/ 1560514 h 6858001"/>
              <a:gd name="connsiteX220" fmla="*/ 3427356 w 8009775"/>
              <a:gd name="connsiteY220" fmla="*/ 1555751 h 6858001"/>
              <a:gd name="connsiteX221" fmla="*/ 3423218 w 8009775"/>
              <a:gd name="connsiteY221" fmla="*/ 1550671 h 6858001"/>
              <a:gd name="connsiteX222" fmla="*/ 3420262 w 8009775"/>
              <a:gd name="connsiteY222" fmla="*/ 1545909 h 6858001"/>
              <a:gd name="connsiteX223" fmla="*/ 3417012 w 8009775"/>
              <a:gd name="connsiteY223" fmla="*/ 1540829 h 6858001"/>
              <a:gd name="connsiteX224" fmla="*/ 3413760 w 8009775"/>
              <a:gd name="connsiteY224" fmla="*/ 1535430 h 6858001"/>
              <a:gd name="connsiteX225" fmla="*/ 3411100 w 8009775"/>
              <a:gd name="connsiteY225" fmla="*/ 1530034 h 6858001"/>
              <a:gd name="connsiteX226" fmla="*/ 3408736 w 8009775"/>
              <a:gd name="connsiteY226" fmla="*/ 1524635 h 6858001"/>
              <a:gd name="connsiteX227" fmla="*/ 3406371 w 8009775"/>
              <a:gd name="connsiteY227" fmla="*/ 1518920 h 6858001"/>
              <a:gd name="connsiteX228" fmla="*/ 3404598 w 8009775"/>
              <a:gd name="connsiteY228" fmla="*/ 1513205 h 6858001"/>
              <a:gd name="connsiteX229" fmla="*/ 3403120 w 8009775"/>
              <a:gd name="connsiteY229" fmla="*/ 1507174 h 6858001"/>
              <a:gd name="connsiteX230" fmla="*/ 3401938 w 8009775"/>
              <a:gd name="connsiteY230" fmla="*/ 1501459 h 6858001"/>
              <a:gd name="connsiteX231" fmla="*/ 3401051 w 8009775"/>
              <a:gd name="connsiteY231" fmla="*/ 1495744 h 6858001"/>
              <a:gd name="connsiteX232" fmla="*/ 3400460 w 8009775"/>
              <a:gd name="connsiteY232" fmla="*/ 1489710 h 6858001"/>
              <a:gd name="connsiteX233" fmla="*/ 3399869 w 8009775"/>
              <a:gd name="connsiteY233" fmla="*/ 1483995 h 6858001"/>
              <a:gd name="connsiteX234" fmla="*/ 3399573 w 8009775"/>
              <a:gd name="connsiteY234" fmla="*/ 1478281 h 6858001"/>
              <a:gd name="connsiteX235" fmla="*/ 3399869 w 8009775"/>
              <a:gd name="connsiteY235" fmla="*/ 1472249 h 6858001"/>
              <a:gd name="connsiteX236" fmla="*/ 3400460 w 8009775"/>
              <a:gd name="connsiteY236" fmla="*/ 1466215 h 6858001"/>
              <a:gd name="connsiteX237" fmla="*/ 3401051 w 8009775"/>
              <a:gd name="connsiteY237" fmla="*/ 1460183 h 6858001"/>
              <a:gd name="connsiteX238" fmla="*/ 3401938 w 8009775"/>
              <a:gd name="connsiteY238" fmla="*/ 1454468 h 6858001"/>
              <a:gd name="connsiteX239" fmla="*/ 3403120 w 8009775"/>
              <a:gd name="connsiteY239" fmla="*/ 1448754 h 6858001"/>
              <a:gd name="connsiteX240" fmla="*/ 3404598 w 8009775"/>
              <a:gd name="connsiteY240" fmla="*/ 1443039 h 6858001"/>
              <a:gd name="connsiteX241" fmla="*/ 3406371 w 8009775"/>
              <a:gd name="connsiteY241" fmla="*/ 1437324 h 6858001"/>
              <a:gd name="connsiteX242" fmla="*/ 3408736 w 8009775"/>
              <a:gd name="connsiteY242" fmla="*/ 1431609 h 6858001"/>
              <a:gd name="connsiteX243" fmla="*/ 3411100 w 8009775"/>
              <a:gd name="connsiteY243" fmla="*/ 1426211 h 6858001"/>
              <a:gd name="connsiteX244" fmla="*/ 3413760 w 8009775"/>
              <a:gd name="connsiteY244" fmla="*/ 1420814 h 6858001"/>
              <a:gd name="connsiteX245" fmla="*/ 3417012 w 8009775"/>
              <a:gd name="connsiteY245" fmla="*/ 1415416 h 6858001"/>
              <a:gd name="connsiteX246" fmla="*/ 3420262 w 8009775"/>
              <a:gd name="connsiteY246" fmla="*/ 1410336 h 6858001"/>
              <a:gd name="connsiteX247" fmla="*/ 3423218 w 8009775"/>
              <a:gd name="connsiteY247" fmla="*/ 1405256 h 6858001"/>
              <a:gd name="connsiteX248" fmla="*/ 3427356 w 8009775"/>
              <a:gd name="connsiteY248" fmla="*/ 1400175 h 6858001"/>
              <a:gd name="connsiteX249" fmla="*/ 3431198 w 8009775"/>
              <a:gd name="connsiteY249" fmla="*/ 1395731 h 6858001"/>
              <a:gd name="connsiteX250" fmla="*/ 3435928 w 8009775"/>
              <a:gd name="connsiteY250" fmla="*/ 1390969 h 6858001"/>
              <a:gd name="connsiteX251" fmla="*/ 3440361 w 8009775"/>
              <a:gd name="connsiteY251" fmla="*/ 1386524 h 6858001"/>
              <a:gd name="connsiteX252" fmla="*/ 3445386 w 8009775"/>
              <a:gd name="connsiteY252" fmla="*/ 1382396 h 6858001"/>
              <a:gd name="connsiteX253" fmla="*/ 3449819 w 8009775"/>
              <a:gd name="connsiteY253" fmla="*/ 1378585 h 6858001"/>
              <a:gd name="connsiteX254" fmla="*/ 3454844 w 8009775"/>
              <a:gd name="connsiteY254" fmla="*/ 1375094 h 6858001"/>
              <a:gd name="connsiteX255" fmla="*/ 3460459 w 8009775"/>
              <a:gd name="connsiteY255" fmla="*/ 1371919 h 6858001"/>
              <a:gd name="connsiteX256" fmla="*/ 3465780 w 8009775"/>
              <a:gd name="connsiteY256" fmla="*/ 1369061 h 6858001"/>
              <a:gd name="connsiteX257" fmla="*/ 3471100 w 8009775"/>
              <a:gd name="connsiteY257" fmla="*/ 1366204 h 6858001"/>
              <a:gd name="connsiteX258" fmla="*/ 3476420 w 8009775"/>
              <a:gd name="connsiteY258" fmla="*/ 1363980 h 6858001"/>
              <a:gd name="connsiteX259" fmla="*/ 3482331 w 8009775"/>
              <a:gd name="connsiteY259" fmla="*/ 1361759 h 6858001"/>
              <a:gd name="connsiteX260" fmla="*/ 3487947 w 8009775"/>
              <a:gd name="connsiteY260" fmla="*/ 1360170 h 6858001"/>
              <a:gd name="connsiteX261" fmla="*/ 3493858 w 8009775"/>
              <a:gd name="connsiteY261" fmla="*/ 1358265 h 6858001"/>
              <a:gd name="connsiteX262" fmla="*/ 3499474 w 8009775"/>
              <a:gd name="connsiteY262" fmla="*/ 1357314 h 6858001"/>
              <a:gd name="connsiteX263" fmla="*/ 3505385 w 8009775"/>
              <a:gd name="connsiteY263" fmla="*/ 1356043 h 6858001"/>
              <a:gd name="connsiteX264" fmla="*/ 3511001 w 8009775"/>
              <a:gd name="connsiteY264" fmla="*/ 1355409 h 6858001"/>
              <a:gd name="connsiteX265" fmla="*/ 3517208 w 8009775"/>
              <a:gd name="connsiteY265" fmla="*/ 1355090 h 6858001"/>
              <a:gd name="connsiteX266" fmla="*/ 3522823 w 8009775"/>
              <a:gd name="connsiteY266" fmla="*/ 1354773 h 6858001"/>
              <a:gd name="connsiteX267" fmla="*/ 3529030 w 8009775"/>
              <a:gd name="connsiteY267" fmla="*/ 1355090 h 6858001"/>
              <a:gd name="connsiteX268" fmla="*/ 3534646 w 8009775"/>
              <a:gd name="connsiteY268" fmla="*/ 1355409 h 6858001"/>
              <a:gd name="connsiteX269" fmla="*/ 3540557 w 8009775"/>
              <a:gd name="connsiteY269" fmla="*/ 1356043 h 6858001"/>
              <a:gd name="connsiteX270" fmla="*/ 3546468 w 8009775"/>
              <a:gd name="connsiteY270" fmla="*/ 1357314 h 6858001"/>
              <a:gd name="connsiteX271" fmla="*/ 3552380 w 8009775"/>
              <a:gd name="connsiteY271" fmla="*/ 1358265 h 6858001"/>
              <a:gd name="connsiteX272" fmla="*/ 3557995 w 8009775"/>
              <a:gd name="connsiteY272" fmla="*/ 1360170 h 6858001"/>
              <a:gd name="connsiteX273" fmla="*/ 3563906 w 8009775"/>
              <a:gd name="connsiteY273" fmla="*/ 1361759 h 6858001"/>
              <a:gd name="connsiteX274" fmla="*/ 3569227 w 8009775"/>
              <a:gd name="connsiteY274" fmla="*/ 1363980 h 6858001"/>
              <a:gd name="connsiteX275" fmla="*/ 3574842 w 8009775"/>
              <a:gd name="connsiteY275" fmla="*/ 1366204 h 6858001"/>
              <a:gd name="connsiteX276" fmla="*/ 3580458 w 8009775"/>
              <a:gd name="connsiteY276" fmla="*/ 1369061 h 6858001"/>
              <a:gd name="connsiteX277" fmla="*/ 3585778 w 8009775"/>
              <a:gd name="connsiteY277" fmla="*/ 1371919 h 6858001"/>
              <a:gd name="connsiteX278" fmla="*/ 3590803 w 8009775"/>
              <a:gd name="connsiteY278" fmla="*/ 1375094 h 6858001"/>
              <a:gd name="connsiteX279" fmla="*/ 3595828 w 8009775"/>
              <a:gd name="connsiteY279" fmla="*/ 1378585 h 6858001"/>
              <a:gd name="connsiteX280" fmla="*/ 3600852 w 8009775"/>
              <a:gd name="connsiteY280" fmla="*/ 1382396 h 6858001"/>
              <a:gd name="connsiteX281" fmla="*/ 3605581 w 8009775"/>
              <a:gd name="connsiteY281" fmla="*/ 1386524 h 6858001"/>
              <a:gd name="connsiteX282" fmla="*/ 3610014 w 8009775"/>
              <a:gd name="connsiteY282" fmla="*/ 1390969 h 6858001"/>
              <a:gd name="connsiteX283" fmla="*/ 3817500 w 8009775"/>
              <a:gd name="connsiteY283" fmla="*/ 1598296 h 6858001"/>
              <a:gd name="connsiteX284" fmla="*/ 3821934 w 8009775"/>
              <a:gd name="connsiteY284" fmla="*/ 1602423 h 6858001"/>
              <a:gd name="connsiteX285" fmla="*/ 3826663 w 8009775"/>
              <a:gd name="connsiteY285" fmla="*/ 1606869 h 6858001"/>
              <a:gd name="connsiteX286" fmla="*/ 3831687 w 8009775"/>
              <a:gd name="connsiteY286" fmla="*/ 1610361 h 6858001"/>
              <a:gd name="connsiteX287" fmla="*/ 3836712 w 8009775"/>
              <a:gd name="connsiteY287" fmla="*/ 1613854 h 6858001"/>
              <a:gd name="connsiteX288" fmla="*/ 3841736 w 8009775"/>
              <a:gd name="connsiteY288" fmla="*/ 1617345 h 6858001"/>
              <a:gd name="connsiteX289" fmla="*/ 3847352 w 8009775"/>
              <a:gd name="connsiteY289" fmla="*/ 1620204 h 6858001"/>
              <a:gd name="connsiteX290" fmla="*/ 3852672 w 8009775"/>
              <a:gd name="connsiteY290" fmla="*/ 1623061 h 6858001"/>
              <a:gd name="connsiteX291" fmla="*/ 3857992 w 8009775"/>
              <a:gd name="connsiteY291" fmla="*/ 1625283 h 6858001"/>
              <a:gd name="connsiteX292" fmla="*/ 3863608 w 8009775"/>
              <a:gd name="connsiteY292" fmla="*/ 1627189 h 6858001"/>
              <a:gd name="connsiteX293" fmla="*/ 3869519 w 8009775"/>
              <a:gd name="connsiteY293" fmla="*/ 1629094 h 6858001"/>
              <a:gd name="connsiteX294" fmla="*/ 3875135 w 8009775"/>
              <a:gd name="connsiteY294" fmla="*/ 1630998 h 6858001"/>
              <a:gd name="connsiteX295" fmla="*/ 3881046 w 8009775"/>
              <a:gd name="connsiteY295" fmla="*/ 1631950 h 6858001"/>
              <a:gd name="connsiteX296" fmla="*/ 3886662 w 8009775"/>
              <a:gd name="connsiteY296" fmla="*/ 1632904 h 6858001"/>
              <a:gd name="connsiteX297" fmla="*/ 3892869 w 8009775"/>
              <a:gd name="connsiteY297" fmla="*/ 1633856 h 6858001"/>
              <a:gd name="connsiteX298" fmla="*/ 3898485 w 8009775"/>
              <a:gd name="connsiteY298" fmla="*/ 1634174 h 6858001"/>
              <a:gd name="connsiteX299" fmla="*/ 3904396 w 8009775"/>
              <a:gd name="connsiteY299" fmla="*/ 1634174 h 6858001"/>
              <a:gd name="connsiteX300" fmla="*/ 3910307 w 8009775"/>
              <a:gd name="connsiteY300" fmla="*/ 1634174 h 6858001"/>
              <a:gd name="connsiteX301" fmla="*/ 3916219 w 8009775"/>
              <a:gd name="connsiteY301" fmla="*/ 1633856 h 6858001"/>
              <a:gd name="connsiteX302" fmla="*/ 3922425 w 8009775"/>
              <a:gd name="connsiteY302" fmla="*/ 1632904 h 6858001"/>
              <a:gd name="connsiteX303" fmla="*/ 3928041 w 8009775"/>
              <a:gd name="connsiteY303" fmla="*/ 1631950 h 6858001"/>
              <a:gd name="connsiteX304" fmla="*/ 3933657 w 8009775"/>
              <a:gd name="connsiteY304" fmla="*/ 1630998 h 6858001"/>
              <a:gd name="connsiteX305" fmla="*/ 3939568 w 8009775"/>
              <a:gd name="connsiteY305" fmla="*/ 1629094 h 6858001"/>
              <a:gd name="connsiteX306" fmla="*/ 3945184 w 8009775"/>
              <a:gd name="connsiteY306" fmla="*/ 1627189 h 6858001"/>
              <a:gd name="connsiteX307" fmla="*/ 3950799 w 8009775"/>
              <a:gd name="connsiteY307" fmla="*/ 1625283 h 6858001"/>
              <a:gd name="connsiteX308" fmla="*/ 3956415 w 8009775"/>
              <a:gd name="connsiteY308" fmla="*/ 1623061 h 6858001"/>
              <a:gd name="connsiteX309" fmla="*/ 3961735 w 8009775"/>
              <a:gd name="connsiteY309" fmla="*/ 1620204 h 6858001"/>
              <a:gd name="connsiteX310" fmla="*/ 3967055 w 8009775"/>
              <a:gd name="connsiteY310" fmla="*/ 1617345 h 6858001"/>
              <a:gd name="connsiteX311" fmla="*/ 3972376 w 8009775"/>
              <a:gd name="connsiteY311" fmla="*/ 1613854 h 6858001"/>
              <a:gd name="connsiteX312" fmla="*/ 3977400 w 8009775"/>
              <a:gd name="connsiteY312" fmla="*/ 1610361 h 6858001"/>
              <a:gd name="connsiteX313" fmla="*/ 3982425 w 8009775"/>
              <a:gd name="connsiteY313" fmla="*/ 1606869 h 6858001"/>
              <a:gd name="connsiteX314" fmla="*/ 3986858 w 8009775"/>
              <a:gd name="connsiteY314" fmla="*/ 1602423 h 6858001"/>
              <a:gd name="connsiteX315" fmla="*/ 3991587 w 8009775"/>
              <a:gd name="connsiteY315" fmla="*/ 1598296 h 6858001"/>
              <a:gd name="connsiteX316" fmla="*/ 3996021 w 8009775"/>
              <a:gd name="connsiteY316" fmla="*/ 1593533 h 6858001"/>
              <a:gd name="connsiteX317" fmla="*/ 4000159 w 8009775"/>
              <a:gd name="connsiteY317" fmla="*/ 1588771 h 6858001"/>
              <a:gd name="connsiteX318" fmla="*/ 4003705 w 8009775"/>
              <a:gd name="connsiteY318" fmla="*/ 1583691 h 6858001"/>
              <a:gd name="connsiteX319" fmla="*/ 4007548 w 8009775"/>
              <a:gd name="connsiteY319" fmla="*/ 1578928 h 6858001"/>
              <a:gd name="connsiteX320" fmla="*/ 4010799 w 8009775"/>
              <a:gd name="connsiteY320" fmla="*/ 1573849 h 6858001"/>
              <a:gd name="connsiteX321" fmla="*/ 4013459 w 8009775"/>
              <a:gd name="connsiteY321" fmla="*/ 1568451 h 6858001"/>
              <a:gd name="connsiteX322" fmla="*/ 4016415 w 8009775"/>
              <a:gd name="connsiteY322" fmla="*/ 1563054 h 6858001"/>
              <a:gd name="connsiteX323" fmla="*/ 4018484 w 8009775"/>
              <a:gd name="connsiteY323" fmla="*/ 1557339 h 6858001"/>
              <a:gd name="connsiteX324" fmla="*/ 4020848 w 8009775"/>
              <a:gd name="connsiteY324" fmla="*/ 1551941 h 6858001"/>
              <a:gd name="connsiteX325" fmla="*/ 4022621 w 8009775"/>
              <a:gd name="connsiteY325" fmla="*/ 1546226 h 6858001"/>
              <a:gd name="connsiteX326" fmla="*/ 4024395 w 8009775"/>
              <a:gd name="connsiteY326" fmla="*/ 1540511 h 6858001"/>
              <a:gd name="connsiteX327" fmla="*/ 4025282 w 8009775"/>
              <a:gd name="connsiteY327" fmla="*/ 1534478 h 6858001"/>
              <a:gd name="connsiteX328" fmla="*/ 4026464 w 8009775"/>
              <a:gd name="connsiteY328" fmla="*/ 1528763 h 6858001"/>
              <a:gd name="connsiteX329" fmla="*/ 4027055 w 8009775"/>
              <a:gd name="connsiteY329" fmla="*/ 1522731 h 6858001"/>
              <a:gd name="connsiteX330" fmla="*/ 4027646 w 8009775"/>
              <a:gd name="connsiteY330" fmla="*/ 1517016 h 6858001"/>
              <a:gd name="connsiteX331" fmla="*/ 4027646 w 8009775"/>
              <a:gd name="connsiteY331" fmla="*/ 1510984 h 6858001"/>
              <a:gd name="connsiteX332" fmla="*/ 4027646 w 8009775"/>
              <a:gd name="connsiteY332" fmla="*/ 1505268 h 6858001"/>
              <a:gd name="connsiteX333" fmla="*/ 4027055 w 8009775"/>
              <a:gd name="connsiteY333" fmla="*/ 1499553 h 6858001"/>
              <a:gd name="connsiteX334" fmla="*/ 4026464 w 8009775"/>
              <a:gd name="connsiteY334" fmla="*/ 1493204 h 6858001"/>
              <a:gd name="connsiteX335" fmla="*/ 4025282 w 8009775"/>
              <a:gd name="connsiteY335" fmla="*/ 1487489 h 6858001"/>
              <a:gd name="connsiteX336" fmla="*/ 4024395 w 8009775"/>
              <a:gd name="connsiteY336" fmla="*/ 1481773 h 6858001"/>
              <a:gd name="connsiteX337" fmla="*/ 4022621 w 8009775"/>
              <a:gd name="connsiteY337" fmla="*/ 1476058 h 6858001"/>
              <a:gd name="connsiteX338" fmla="*/ 4020848 w 8009775"/>
              <a:gd name="connsiteY338" fmla="*/ 1470343 h 6858001"/>
              <a:gd name="connsiteX339" fmla="*/ 4018484 w 8009775"/>
              <a:gd name="connsiteY339" fmla="*/ 1464629 h 6858001"/>
              <a:gd name="connsiteX340" fmla="*/ 4016415 w 8009775"/>
              <a:gd name="connsiteY340" fmla="*/ 1459231 h 6858001"/>
              <a:gd name="connsiteX341" fmla="*/ 4013459 w 8009775"/>
              <a:gd name="connsiteY341" fmla="*/ 1453834 h 6858001"/>
              <a:gd name="connsiteX342" fmla="*/ 4010799 w 8009775"/>
              <a:gd name="connsiteY342" fmla="*/ 1448436 h 6858001"/>
              <a:gd name="connsiteX343" fmla="*/ 4007548 w 8009775"/>
              <a:gd name="connsiteY343" fmla="*/ 1443356 h 6858001"/>
              <a:gd name="connsiteX344" fmla="*/ 4003705 w 8009775"/>
              <a:gd name="connsiteY344" fmla="*/ 1438275 h 6858001"/>
              <a:gd name="connsiteX345" fmla="*/ 4000159 w 8009775"/>
              <a:gd name="connsiteY345" fmla="*/ 1433195 h 6858001"/>
              <a:gd name="connsiteX346" fmla="*/ 3996021 w 8009775"/>
              <a:gd name="connsiteY346" fmla="*/ 1428751 h 6858001"/>
              <a:gd name="connsiteX347" fmla="*/ 3991587 w 8009775"/>
              <a:gd name="connsiteY347" fmla="*/ 1423988 h 6858001"/>
              <a:gd name="connsiteX348" fmla="*/ 3323022 w 8009775"/>
              <a:gd name="connsiteY348" fmla="*/ 755333 h 6858001"/>
              <a:gd name="connsiteX349" fmla="*/ 3316815 w 8009775"/>
              <a:gd name="connsiteY349" fmla="*/ 748348 h 6858001"/>
              <a:gd name="connsiteX350" fmla="*/ 3310904 w 8009775"/>
              <a:gd name="connsiteY350" fmla="*/ 741045 h 6858001"/>
              <a:gd name="connsiteX351" fmla="*/ 3305584 w 8009775"/>
              <a:gd name="connsiteY351" fmla="*/ 733108 h 6858001"/>
              <a:gd name="connsiteX352" fmla="*/ 3300855 w 8009775"/>
              <a:gd name="connsiteY352" fmla="*/ 725170 h 6858001"/>
              <a:gd name="connsiteX353" fmla="*/ 3297308 w 8009775"/>
              <a:gd name="connsiteY353" fmla="*/ 716915 h 6858001"/>
              <a:gd name="connsiteX354" fmla="*/ 3293761 w 8009775"/>
              <a:gd name="connsiteY354" fmla="*/ 708660 h 6858001"/>
              <a:gd name="connsiteX355" fmla="*/ 3291101 w 8009775"/>
              <a:gd name="connsiteY355" fmla="*/ 699770 h 6858001"/>
              <a:gd name="connsiteX356" fmla="*/ 3289328 w 8009775"/>
              <a:gd name="connsiteY356" fmla="*/ 691198 h 6858001"/>
              <a:gd name="connsiteX0" fmla="*/ 2596527 w 8009775"/>
              <a:gd name="connsiteY0" fmla="*/ 0 h 6858001"/>
              <a:gd name="connsiteX1" fmla="*/ 2165004 w 8009775"/>
              <a:gd name="connsiteY1" fmla="*/ 0 h 6858001"/>
              <a:gd name="connsiteX2" fmla="*/ 3265978 w 8009775"/>
              <a:gd name="connsiteY2" fmla="*/ 1101091 h 6858001"/>
              <a:gd name="connsiteX3" fmla="*/ 3270708 w 8009775"/>
              <a:gd name="connsiteY3" fmla="*/ 1105854 h 6858001"/>
              <a:gd name="connsiteX4" fmla="*/ 3274550 w 8009775"/>
              <a:gd name="connsiteY4" fmla="*/ 1110615 h 6858001"/>
              <a:gd name="connsiteX5" fmla="*/ 3278688 w 8009775"/>
              <a:gd name="connsiteY5" fmla="*/ 1115696 h 6858001"/>
              <a:gd name="connsiteX6" fmla="*/ 3282234 w 8009775"/>
              <a:gd name="connsiteY6" fmla="*/ 1120776 h 6858001"/>
              <a:gd name="connsiteX7" fmla="*/ 3285486 w 8009775"/>
              <a:gd name="connsiteY7" fmla="*/ 1126174 h 6858001"/>
              <a:gd name="connsiteX8" fmla="*/ 3288146 w 8009775"/>
              <a:gd name="connsiteY8" fmla="*/ 1131570 h 6858001"/>
              <a:gd name="connsiteX9" fmla="*/ 3291101 w 8009775"/>
              <a:gd name="connsiteY9" fmla="*/ 1136968 h 6858001"/>
              <a:gd name="connsiteX10" fmla="*/ 3293761 w 8009775"/>
              <a:gd name="connsiteY10" fmla="*/ 1142366 h 6858001"/>
              <a:gd name="connsiteX11" fmla="*/ 3295830 w 8009775"/>
              <a:gd name="connsiteY11" fmla="*/ 1148081 h 6858001"/>
              <a:gd name="connsiteX12" fmla="*/ 3297604 w 8009775"/>
              <a:gd name="connsiteY12" fmla="*/ 1153796 h 6858001"/>
              <a:gd name="connsiteX13" fmla="*/ 3299082 w 8009775"/>
              <a:gd name="connsiteY13" fmla="*/ 1159829 h 6858001"/>
              <a:gd name="connsiteX14" fmla="*/ 3300559 w 8009775"/>
              <a:gd name="connsiteY14" fmla="*/ 1165544 h 6858001"/>
              <a:gd name="connsiteX15" fmla="*/ 3301446 w 8009775"/>
              <a:gd name="connsiteY15" fmla="*/ 1171893 h 6858001"/>
              <a:gd name="connsiteX16" fmla="*/ 3302333 w 8009775"/>
              <a:gd name="connsiteY16" fmla="*/ 1177608 h 6858001"/>
              <a:gd name="connsiteX17" fmla="*/ 3302628 w 8009775"/>
              <a:gd name="connsiteY17" fmla="*/ 1183641 h 6858001"/>
              <a:gd name="connsiteX18" fmla="*/ 3302628 w 8009775"/>
              <a:gd name="connsiteY18" fmla="*/ 1189356 h 6858001"/>
              <a:gd name="connsiteX19" fmla="*/ 3302628 w 8009775"/>
              <a:gd name="connsiteY19" fmla="*/ 1195388 h 6858001"/>
              <a:gd name="connsiteX20" fmla="*/ 3302333 w 8009775"/>
              <a:gd name="connsiteY20" fmla="*/ 1201739 h 6858001"/>
              <a:gd name="connsiteX21" fmla="*/ 3301446 w 8009775"/>
              <a:gd name="connsiteY21" fmla="*/ 1207454 h 6858001"/>
              <a:gd name="connsiteX22" fmla="*/ 3300559 w 8009775"/>
              <a:gd name="connsiteY22" fmla="*/ 1213486 h 6858001"/>
              <a:gd name="connsiteX23" fmla="*/ 3299082 w 8009775"/>
              <a:gd name="connsiteY23" fmla="*/ 1219200 h 6858001"/>
              <a:gd name="connsiteX24" fmla="*/ 3297604 w 8009775"/>
              <a:gd name="connsiteY24" fmla="*/ 1225233 h 6858001"/>
              <a:gd name="connsiteX25" fmla="*/ 3295830 w 8009775"/>
              <a:gd name="connsiteY25" fmla="*/ 1230949 h 6858001"/>
              <a:gd name="connsiteX26" fmla="*/ 3293761 w 8009775"/>
              <a:gd name="connsiteY26" fmla="*/ 1236346 h 6858001"/>
              <a:gd name="connsiteX27" fmla="*/ 3291101 w 8009775"/>
              <a:gd name="connsiteY27" fmla="*/ 1242061 h 6858001"/>
              <a:gd name="connsiteX28" fmla="*/ 3288146 w 8009775"/>
              <a:gd name="connsiteY28" fmla="*/ 1247459 h 6858001"/>
              <a:gd name="connsiteX29" fmla="*/ 3285486 w 8009775"/>
              <a:gd name="connsiteY29" fmla="*/ 1252855 h 6858001"/>
              <a:gd name="connsiteX30" fmla="*/ 3282234 w 8009775"/>
              <a:gd name="connsiteY30" fmla="*/ 1258254 h 6858001"/>
              <a:gd name="connsiteX31" fmla="*/ 3278688 w 8009775"/>
              <a:gd name="connsiteY31" fmla="*/ 1263333 h 6858001"/>
              <a:gd name="connsiteX32" fmla="*/ 3274550 w 8009775"/>
              <a:gd name="connsiteY32" fmla="*/ 1268413 h 6858001"/>
              <a:gd name="connsiteX33" fmla="*/ 3270708 w 8009775"/>
              <a:gd name="connsiteY33" fmla="*/ 1273494 h 6858001"/>
              <a:gd name="connsiteX34" fmla="*/ 3265978 w 8009775"/>
              <a:gd name="connsiteY34" fmla="*/ 1278255 h 6858001"/>
              <a:gd name="connsiteX35" fmla="*/ 3261249 w 8009775"/>
              <a:gd name="connsiteY35" fmla="*/ 1282384 h 6858001"/>
              <a:gd name="connsiteX36" fmla="*/ 3256816 w 8009775"/>
              <a:gd name="connsiteY36" fmla="*/ 1286510 h 6858001"/>
              <a:gd name="connsiteX37" fmla="*/ 3251791 w 8009775"/>
              <a:gd name="connsiteY37" fmla="*/ 1290321 h 6858001"/>
              <a:gd name="connsiteX38" fmla="*/ 3246767 w 8009775"/>
              <a:gd name="connsiteY38" fmla="*/ 1293814 h 6858001"/>
              <a:gd name="connsiteX39" fmla="*/ 3241151 w 8009775"/>
              <a:gd name="connsiteY39" fmla="*/ 1297306 h 6858001"/>
              <a:gd name="connsiteX40" fmla="*/ 3235831 w 8009775"/>
              <a:gd name="connsiteY40" fmla="*/ 1300481 h 6858001"/>
              <a:gd name="connsiteX41" fmla="*/ 3230511 w 8009775"/>
              <a:gd name="connsiteY41" fmla="*/ 1303021 h 6858001"/>
              <a:gd name="connsiteX42" fmla="*/ 3224600 w 8009775"/>
              <a:gd name="connsiteY42" fmla="*/ 1305560 h 6858001"/>
              <a:gd name="connsiteX43" fmla="*/ 3218984 w 8009775"/>
              <a:gd name="connsiteY43" fmla="*/ 1307465 h 6858001"/>
              <a:gd name="connsiteX44" fmla="*/ 3213072 w 8009775"/>
              <a:gd name="connsiteY44" fmla="*/ 1309371 h 6858001"/>
              <a:gd name="connsiteX45" fmla="*/ 3207457 w 8009775"/>
              <a:gd name="connsiteY45" fmla="*/ 1311275 h 6858001"/>
              <a:gd name="connsiteX46" fmla="*/ 3201841 w 8009775"/>
              <a:gd name="connsiteY46" fmla="*/ 1312228 h 6858001"/>
              <a:gd name="connsiteX47" fmla="*/ 3195634 w 8009775"/>
              <a:gd name="connsiteY47" fmla="*/ 1313180 h 6858001"/>
              <a:gd name="connsiteX48" fmla="*/ 3189428 w 8009775"/>
              <a:gd name="connsiteY48" fmla="*/ 1314133 h 6858001"/>
              <a:gd name="connsiteX49" fmla="*/ 3183812 w 8009775"/>
              <a:gd name="connsiteY49" fmla="*/ 1314450 h 6858001"/>
              <a:gd name="connsiteX50" fmla="*/ 3177605 w 8009775"/>
              <a:gd name="connsiteY50" fmla="*/ 1314769 h 6858001"/>
              <a:gd name="connsiteX51" fmla="*/ 3171694 w 8009775"/>
              <a:gd name="connsiteY51" fmla="*/ 1314450 h 6858001"/>
              <a:gd name="connsiteX52" fmla="*/ 3165782 w 8009775"/>
              <a:gd name="connsiteY52" fmla="*/ 1314133 h 6858001"/>
              <a:gd name="connsiteX53" fmla="*/ 3159576 w 8009775"/>
              <a:gd name="connsiteY53" fmla="*/ 1313180 h 6858001"/>
              <a:gd name="connsiteX54" fmla="*/ 3153960 w 8009775"/>
              <a:gd name="connsiteY54" fmla="*/ 1312228 h 6858001"/>
              <a:gd name="connsiteX55" fmla="*/ 3147753 w 8009775"/>
              <a:gd name="connsiteY55" fmla="*/ 1311275 h 6858001"/>
              <a:gd name="connsiteX56" fmla="*/ 3142137 w 8009775"/>
              <a:gd name="connsiteY56" fmla="*/ 1309371 h 6858001"/>
              <a:gd name="connsiteX57" fmla="*/ 3136226 w 8009775"/>
              <a:gd name="connsiteY57" fmla="*/ 1307465 h 6858001"/>
              <a:gd name="connsiteX58" fmla="*/ 3130610 w 8009775"/>
              <a:gd name="connsiteY58" fmla="*/ 1305560 h 6858001"/>
              <a:gd name="connsiteX59" fmla="*/ 3124994 w 8009775"/>
              <a:gd name="connsiteY59" fmla="*/ 1303021 h 6858001"/>
              <a:gd name="connsiteX60" fmla="*/ 3119379 w 8009775"/>
              <a:gd name="connsiteY60" fmla="*/ 1300481 h 6858001"/>
              <a:gd name="connsiteX61" fmla="*/ 3114059 w 8009775"/>
              <a:gd name="connsiteY61" fmla="*/ 1297306 h 6858001"/>
              <a:gd name="connsiteX62" fmla="*/ 3109034 w 8009775"/>
              <a:gd name="connsiteY62" fmla="*/ 1293814 h 6858001"/>
              <a:gd name="connsiteX63" fmla="*/ 3103714 w 8009775"/>
              <a:gd name="connsiteY63" fmla="*/ 1290321 h 6858001"/>
              <a:gd name="connsiteX64" fmla="*/ 3098689 w 8009775"/>
              <a:gd name="connsiteY64" fmla="*/ 1286510 h 6858001"/>
              <a:gd name="connsiteX65" fmla="*/ 3093960 w 8009775"/>
              <a:gd name="connsiteY65" fmla="*/ 1282384 h 6858001"/>
              <a:gd name="connsiteX66" fmla="*/ 3089231 w 8009775"/>
              <a:gd name="connsiteY66" fmla="*/ 1278255 h 6858001"/>
              <a:gd name="connsiteX67" fmla="*/ 1811214 w 8009775"/>
              <a:gd name="connsiteY67" fmla="*/ 0 h 6858001"/>
              <a:gd name="connsiteX68" fmla="*/ 551808 w 8009775"/>
              <a:gd name="connsiteY68" fmla="*/ 0 h 6858001"/>
              <a:gd name="connsiteX69" fmla="*/ 408933 w 8009775"/>
              <a:gd name="connsiteY69" fmla="*/ 0 h 6858001"/>
              <a:gd name="connsiteX70" fmla="*/ 55488 w 8009775"/>
              <a:gd name="connsiteY70" fmla="*/ 0 h 6858001"/>
              <a:gd name="connsiteX71" fmla="*/ 0 w 8009775"/>
              <a:gd name="connsiteY71" fmla="*/ 0 h 6858001"/>
              <a:gd name="connsiteX72" fmla="*/ 0 w 8009775"/>
              <a:gd name="connsiteY72" fmla="*/ 6858000 h 6858001"/>
              <a:gd name="connsiteX73" fmla="*/ 7004395 w 8009775"/>
              <a:gd name="connsiteY73" fmla="*/ 6858000 h 6858001"/>
              <a:gd name="connsiteX74" fmla="*/ 7099646 w 8009775"/>
              <a:gd name="connsiteY74" fmla="*/ 6858001 h 6858001"/>
              <a:gd name="connsiteX75" fmla="*/ 7147271 w 8009775"/>
              <a:gd name="connsiteY75" fmla="*/ 6858001 h 6858001"/>
              <a:gd name="connsiteX76" fmla="*/ 7364776 w 8009775"/>
              <a:gd name="connsiteY76" fmla="*/ 6858001 h 6858001"/>
              <a:gd name="connsiteX77" fmla="*/ 7460026 w 8009775"/>
              <a:gd name="connsiteY77" fmla="*/ 6858001 h 6858001"/>
              <a:gd name="connsiteX78" fmla="*/ 7507651 w 8009775"/>
              <a:gd name="connsiteY78" fmla="*/ 6858001 h 6858001"/>
              <a:gd name="connsiteX79" fmla="*/ 7507650 w 8009775"/>
              <a:gd name="connsiteY79" fmla="*/ 6858000 h 6858001"/>
              <a:gd name="connsiteX80" fmla="*/ 8009775 w 8009775"/>
              <a:gd name="connsiteY80" fmla="*/ 6858000 h 6858001"/>
              <a:gd name="connsiteX81" fmla="*/ 3996316 w 8009775"/>
              <a:gd name="connsiteY81" fmla="*/ 2818448 h 6858001"/>
              <a:gd name="connsiteX82" fmla="*/ 3980947 w 8009775"/>
              <a:gd name="connsiteY82" fmla="*/ 2804795 h 6858001"/>
              <a:gd name="connsiteX83" fmla="*/ 3965282 w 8009775"/>
              <a:gd name="connsiteY83" fmla="*/ 2791144 h 6858001"/>
              <a:gd name="connsiteX84" fmla="*/ 3950799 w 8009775"/>
              <a:gd name="connsiteY84" fmla="*/ 2776856 h 6858001"/>
              <a:gd name="connsiteX85" fmla="*/ 3936021 w 8009775"/>
              <a:gd name="connsiteY85" fmla="*/ 2762568 h 6858001"/>
              <a:gd name="connsiteX86" fmla="*/ 3001744 w 8009775"/>
              <a:gd name="connsiteY86" fmla="*/ 1828166 h 6858001"/>
              <a:gd name="connsiteX87" fmla="*/ 2997311 w 8009775"/>
              <a:gd name="connsiteY87" fmla="*/ 1823404 h 6858001"/>
              <a:gd name="connsiteX88" fmla="*/ 2992878 w 8009775"/>
              <a:gd name="connsiteY88" fmla="*/ 1818640 h 6858001"/>
              <a:gd name="connsiteX89" fmla="*/ 2989331 w 8009775"/>
              <a:gd name="connsiteY89" fmla="*/ 1814195 h 6858001"/>
              <a:gd name="connsiteX90" fmla="*/ 2985784 w 8009775"/>
              <a:gd name="connsiteY90" fmla="*/ 1808799 h 6858001"/>
              <a:gd name="connsiteX91" fmla="*/ 2982533 w 8009775"/>
              <a:gd name="connsiteY91" fmla="*/ 1803718 h 6858001"/>
              <a:gd name="connsiteX92" fmla="*/ 2979873 w 8009775"/>
              <a:gd name="connsiteY92" fmla="*/ 1798321 h 6858001"/>
              <a:gd name="connsiteX93" fmla="*/ 2976917 w 8009775"/>
              <a:gd name="connsiteY93" fmla="*/ 1792924 h 6858001"/>
              <a:gd name="connsiteX94" fmla="*/ 2974552 w 8009775"/>
              <a:gd name="connsiteY94" fmla="*/ 1787526 h 6858001"/>
              <a:gd name="connsiteX95" fmla="*/ 2972484 w 8009775"/>
              <a:gd name="connsiteY95" fmla="*/ 1781811 h 6858001"/>
              <a:gd name="connsiteX96" fmla="*/ 2970710 w 8009775"/>
              <a:gd name="connsiteY96" fmla="*/ 1776095 h 6858001"/>
              <a:gd name="connsiteX97" fmla="*/ 2968937 w 8009775"/>
              <a:gd name="connsiteY97" fmla="*/ 1770380 h 6858001"/>
              <a:gd name="connsiteX98" fmla="*/ 2967755 w 8009775"/>
              <a:gd name="connsiteY98" fmla="*/ 1764665 h 6858001"/>
              <a:gd name="connsiteX99" fmla="*/ 2966868 w 8009775"/>
              <a:gd name="connsiteY99" fmla="*/ 1758634 h 6858001"/>
              <a:gd name="connsiteX100" fmla="*/ 2965981 w 8009775"/>
              <a:gd name="connsiteY100" fmla="*/ 1752919 h 6858001"/>
              <a:gd name="connsiteX101" fmla="*/ 2965686 w 8009775"/>
              <a:gd name="connsiteY101" fmla="*/ 1746885 h 6858001"/>
              <a:gd name="connsiteX102" fmla="*/ 2965686 w 8009775"/>
              <a:gd name="connsiteY102" fmla="*/ 1741170 h 6858001"/>
              <a:gd name="connsiteX103" fmla="*/ 2965686 w 8009775"/>
              <a:gd name="connsiteY103" fmla="*/ 1735139 h 6858001"/>
              <a:gd name="connsiteX104" fmla="*/ 2965981 w 8009775"/>
              <a:gd name="connsiteY104" fmla="*/ 1729424 h 6858001"/>
              <a:gd name="connsiteX105" fmla="*/ 2966868 w 8009775"/>
              <a:gd name="connsiteY105" fmla="*/ 1723074 h 6858001"/>
              <a:gd name="connsiteX106" fmla="*/ 2967755 w 8009775"/>
              <a:gd name="connsiteY106" fmla="*/ 1717358 h 6858001"/>
              <a:gd name="connsiteX107" fmla="*/ 2968937 w 8009775"/>
              <a:gd name="connsiteY107" fmla="*/ 1711643 h 6858001"/>
              <a:gd name="connsiteX108" fmla="*/ 2970710 w 8009775"/>
              <a:gd name="connsiteY108" fmla="*/ 1705929 h 6858001"/>
              <a:gd name="connsiteX109" fmla="*/ 2972484 w 8009775"/>
              <a:gd name="connsiteY109" fmla="*/ 1700214 h 6858001"/>
              <a:gd name="connsiteX110" fmla="*/ 2974552 w 8009775"/>
              <a:gd name="connsiteY110" fmla="*/ 1694816 h 6858001"/>
              <a:gd name="connsiteX111" fmla="*/ 2976917 w 8009775"/>
              <a:gd name="connsiteY111" fmla="*/ 1689101 h 6858001"/>
              <a:gd name="connsiteX112" fmla="*/ 2979873 w 8009775"/>
              <a:gd name="connsiteY112" fmla="*/ 1683703 h 6858001"/>
              <a:gd name="connsiteX113" fmla="*/ 2982533 w 8009775"/>
              <a:gd name="connsiteY113" fmla="*/ 1678305 h 6858001"/>
              <a:gd name="connsiteX114" fmla="*/ 2985784 w 8009775"/>
              <a:gd name="connsiteY114" fmla="*/ 1673226 h 6858001"/>
              <a:gd name="connsiteX115" fmla="*/ 2989331 w 8009775"/>
              <a:gd name="connsiteY115" fmla="*/ 1668145 h 6858001"/>
              <a:gd name="connsiteX116" fmla="*/ 2992878 w 8009775"/>
              <a:gd name="connsiteY116" fmla="*/ 1663066 h 6858001"/>
              <a:gd name="connsiteX117" fmla="*/ 2997311 w 8009775"/>
              <a:gd name="connsiteY117" fmla="*/ 1658621 h 6858001"/>
              <a:gd name="connsiteX118" fmla="*/ 3001744 w 8009775"/>
              <a:gd name="connsiteY118" fmla="*/ 1653859 h 6858001"/>
              <a:gd name="connsiteX119" fmla="*/ 3006178 w 8009775"/>
              <a:gd name="connsiteY119" fmla="*/ 1649414 h 6858001"/>
              <a:gd name="connsiteX120" fmla="*/ 3010907 w 8009775"/>
              <a:gd name="connsiteY120" fmla="*/ 1645603 h 6858001"/>
              <a:gd name="connsiteX121" fmla="*/ 3015932 w 8009775"/>
              <a:gd name="connsiteY121" fmla="*/ 1641794 h 6858001"/>
              <a:gd name="connsiteX122" fmla="*/ 3020956 w 8009775"/>
              <a:gd name="connsiteY122" fmla="*/ 1637984 h 6858001"/>
              <a:gd name="connsiteX123" fmla="*/ 3025981 w 8009775"/>
              <a:gd name="connsiteY123" fmla="*/ 1634809 h 6858001"/>
              <a:gd name="connsiteX124" fmla="*/ 3031596 w 8009775"/>
              <a:gd name="connsiteY124" fmla="*/ 1631950 h 6858001"/>
              <a:gd name="connsiteX125" fmla="*/ 3036916 w 8009775"/>
              <a:gd name="connsiteY125" fmla="*/ 1629094 h 6858001"/>
              <a:gd name="connsiteX126" fmla="*/ 3042532 w 8009775"/>
              <a:gd name="connsiteY126" fmla="*/ 1626871 h 6858001"/>
              <a:gd name="connsiteX127" fmla="*/ 3047852 w 8009775"/>
              <a:gd name="connsiteY127" fmla="*/ 1624649 h 6858001"/>
              <a:gd name="connsiteX128" fmla="*/ 3053764 w 8009775"/>
              <a:gd name="connsiteY128" fmla="*/ 1623061 h 6858001"/>
              <a:gd name="connsiteX129" fmla="*/ 3059379 w 8009775"/>
              <a:gd name="connsiteY129" fmla="*/ 1621155 h 6858001"/>
              <a:gd name="connsiteX130" fmla="*/ 3065291 w 8009775"/>
              <a:gd name="connsiteY130" fmla="*/ 1620204 h 6858001"/>
              <a:gd name="connsiteX131" fmla="*/ 3070906 w 8009775"/>
              <a:gd name="connsiteY131" fmla="*/ 1618934 h 6858001"/>
              <a:gd name="connsiteX132" fmla="*/ 3077113 w 8009775"/>
              <a:gd name="connsiteY132" fmla="*/ 1618299 h 6858001"/>
              <a:gd name="connsiteX133" fmla="*/ 3082729 w 8009775"/>
              <a:gd name="connsiteY133" fmla="*/ 1617981 h 6858001"/>
              <a:gd name="connsiteX134" fmla="*/ 3088936 w 8009775"/>
              <a:gd name="connsiteY134" fmla="*/ 1617981 h 6858001"/>
              <a:gd name="connsiteX135" fmla="*/ 3094552 w 8009775"/>
              <a:gd name="connsiteY135" fmla="*/ 1617981 h 6858001"/>
              <a:gd name="connsiteX136" fmla="*/ 3100758 w 8009775"/>
              <a:gd name="connsiteY136" fmla="*/ 1618299 h 6858001"/>
              <a:gd name="connsiteX137" fmla="*/ 3106670 w 8009775"/>
              <a:gd name="connsiteY137" fmla="*/ 1618934 h 6858001"/>
              <a:gd name="connsiteX138" fmla="*/ 3112285 w 8009775"/>
              <a:gd name="connsiteY138" fmla="*/ 1620204 h 6858001"/>
              <a:gd name="connsiteX139" fmla="*/ 3117901 w 8009775"/>
              <a:gd name="connsiteY139" fmla="*/ 1621155 h 6858001"/>
              <a:gd name="connsiteX140" fmla="*/ 3123812 w 8009775"/>
              <a:gd name="connsiteY140" fmla="*/ 1623061 h 6858001"/>
              <a:gd name="connsiteX141" fmla="*/ 3129428 w 8009775"/>
              <a:gd name="connsiteY141" fmla="*/ 1624649 h 6858001"/>
              <a:gd name="connsiteX142" fmla="*/ 3135339 w 8009775"/>
              <a:gd name="connsiteY142" fmla="*/ 1626871 h 6858001"/>
              <a:gd name="connsiteX143" fmla="*/ 3140660 w 8009775"/>
              <a:gd name="connsiteY143" fmla="*/ 1629094 h 6858001"/>
              <a:gd name="connsiteX144" fmla="*/ 3145980 w 8009775"/>
              <a:gd name="connsiteY144" fmla="*/ 1631950 h 6858001"/>
              <a:gd name="connsiteX145" fmla="*/ 3151300 w 8009775"/>
              <a:gd name="connsiteY145" fmla="*/ 1634809 h 6858001"/>
              <a:gd name="connsiteX146" fmla="*/ 3156324 w 8009775"/>
              <a:gd name="connsiteY146" fmla="*/ 1637984 h 6858001"/>
              <a:gd name="connsiteX147" fmla="*/ 3161349 w 8009775"/>
              <a:gd name="connsiteY147" fmla="*/ 1641794 h 6858001"/>
              <a:gd name="connsiteX148" fmla="*/ 3166374 w 8009775"/>
              <a:gd name="connsiteY148" fmla="*/ 1645603 h 6858001"/>
              <a:gd name="connsiteX149" fmla="*/ 3171102 w 8009775"/>
              <a:gd name="connsiteY149" fmla="*/ 1649414 h 6858001"/>
              <a:gd name="connsiteX150" fmla="*/ 3175832 w 8009775"/>
              <a:gd name="connsiteY150" fmla="*/ 1653859 h 6858001"/>
              <a:gd name="connsiteX151" fmla="*/ 3844692 w 8009775"/>
              <a:gd name="connsiteY151" fmla="*/ 2322830 h 6858001"/>
              <a:gd name="connsiteX152" fmla="*/ 3849421 w 8009775"/>
              <a:gd name="connsiteY152" fmla="*/ 2326958 h 6858001"/>
              <a:gd name="connsiteX153" fmla="*/ 3854150 w 8009775"/>
              <a:gd name="connsiteY153" fmla="*/ 2331085 h 6858001"/>
              <a:gd name="connsiteX154" fmla="*/ 3859175 w 8009775"/>
              <a:gd name="connsiteY154" fmla="*/ 2334895 h 6858001"/>
              <a:gd name="connsiteX155" fmla="*/ 3864199 w 8009775"/>
              <a:gd name="connsiteY155" fmla="*/ 2338705 h 6858001"/>
              <a:gd name="connsiteX156" fmla="*/ 3869224 w 8009775"/>
              <a:gd name="connsiteY156" fmla="*/ 2341880 h 6858001"/>
              <a:gd name="connsiteX157" fmla="*/ 3874544 w 8009775"/>
              <a:gd name="connsiteY157" fmla="*/ 2344738 h 6858001"/>
              <a:gd name="connsiteX158" fmla="*/ 3879864 w 8009775"/>
              <a:gd name="connsiteY158" fmla="*/ 2347595 h 6858001"/>
              <a:gd name="connsiteX159" fmla="*/ 3885775 w 8009775"/>
              <a:gd name="connsiteY159" fmla="*/ 2349818 h 6858001"/>
              <a:gd name="connsiteX160" fmla="*/ 3891096 w 8009775"/>
              <a:gd name="connsiteY160" fmla="*/ 2351723 h 6858001"/>
              <a:gd name="connsiteX161" fmla="*/ 3896711 w 8009775"/>
              <a:gd name="connsiteY161" fmla="*/ 2353628 h 6858001"/>
              <a:gd name="connsiteX162" fmla="*/ 3902623 w 8009775"/>
              <a:gd name="connsiteY162" fmla="*/ 2355534 h 6858001"/>
              <a:gd name="connsiteX163" fmla="*/ 3908238 w 8009775"/>
              <a:gd name="connsiteY163" fmla="*/ 2356485 h 6858001"/>
              <a:gd name="connsiteX164" fmla="*/ 3914150 w 8009775"/>
              <a:gd name="connsiteY164" fmla="*/ 2357755 h 6858001"/>
              <a:gd name="connsiteX165" fmla="*/ 3920061 w 8009775"/>
              <a:gd name="connsiteY165" fmla="*/ 2358391 h 6858001"/>
              <a:gd name="connsiteX166" fmla="*/ 3925972 w 8009775"/>
              <a:gd name="connsiteY166" fmla="*/ 2358708 h 6858001"/>
              <a:gd name="connsiteX167" fmla="*/ 3931883 w 8009775"/>
              <a:gd name="connsiteY167" fmla="*/ 2358708 h 6858001"/>
              <a:gd name="connsiteX168" fmla="*/ 3937795 w 8009775"/>
              <a:gd name="connsiteY168" fmla="*/ 2358708 h 6858001"/>
              <a:gd name="connsiteX169" fmla="*/ 3943706 w 8009775"/>
              <a:gd name="connsiteY169" fmla="*/ 2358391 h 6858001"/>
              <a:gd name="connsiteX170" fmla="*/ 3949617 w 8009775"/>
              <a:gd name="connsiteY170" fmla="*/ 2357755 h 6858001"/>
              <a:gd name="connsiteX171" fmla="*/ 3955233 w 8009775"/>
              <a:gd name="connsiteY171" fmla="*/ 2356485 h 6858001"/>
              <a:gd name="connsiteX172" fmla="*/ 3961144 w 8009775"/>
              <a:gd name="connsiteY172" fmla="*/ 2355534 h 6858001"/>
              <a:gd name="connsiteX173" fmla="*/ 3966760 w 8009775"/>
              <a:gd name="connsiteY173" fmla="*/ 2353628 h 6858001"/>
              <a:gd name="connsiteX174" fmla="*/ 3972671 w 8009775"/>
              <a:gd name="connsiteY174" fmla="*/ 2351723 h 6858001"/>
              <a:gd name="connsiteX175" fmla="*/ 3978287 w 8009775"/>
              <a:gd name="connsiteY175" fmla="*/ 2349818 h 6858001"/>
              <a:gd name="connsiteX176" fmla="*/ 3983607 w 8009775"/>
              <a:gd name="connsiteY176" fmla="*/ 2347595 h 6858001"/>
              <a:gd name="connsiteX177" fmla="*/ 3989223 w 8009775"/>
              <a:gd name="connsiteY177" fmla="*/ 2344738 h 6858001"/>
              <a:gd name="connsiteX178" fmla="*/ 3994543 w 8009775"/>
              <a:gd name="connsiteY178" fmla="*/ 2341880 h 6858001"/>
              <a:gd name="connsiteX179" fmla="*/ 3999567 w 8009775"/>
              <a:gd name="connsiteY179" fmla="*/ 2338705 h 6858001"/>
              <a:gd name="connsiteX180" fmla="*/ 4004888 w 8009775"/>
              <a:gd name="connsiteY180" fmla="*/ 2334895 h 6858001"/>
              <a:gd name="connsiteX181" fmla="*/ 4009617 w 8009775"/>
              <a:gd name="connsiteY181" fmla="*/ 2331085 h 6858001"/>
              <a:gd name="connsiteX182" fmla="*/ 4014346 w 8009775"/>
              <a:gd name="connsiteY182" fmla="*/ 2326958 h 6858001"/>
              <a:gd name="connsiteX183" fmla="*/ 4018779 w 8009775"/>
              <a:gd name="connsiteY183" fmla="*/ 2322830 h 6858001"/>
              <a:gd name="connsiteX184" fmla="*/ 4023213 w 8009775"/>
              <a:gd name="connsiteY184" fmla="*/ 2318068 h 6858001"/>
              <a:gd name="connsiteX185" fmla="*/ 4027646 w 8009775"/>
              <a:gd name="connsiteY185" fmla="*/ 2313306 h 6858001"/>
              <a:gd name="connsiteX186" fmla="*/ 4031193 w 8009775"/>
              <a:gd name="connsiteY186" fmla="*/ 2308544 h 6858001"/>
              <a:gd name="connsiteX187" fmla="*/ 4034740 w 8009775"/>
              <a:gd name="connsiteY187" fmla="*/ 2303463 h 6858001"/>
              <a:gd name="connsiteX188" fmla="*/ 4037991 w 8009775"/>
              <a:gd name="connsiteY188" fmla="*/ 2298384 h 6858001"/>
              <a:gd name="connsiteX189" fmla="*/ 4040946 w 8009775"/>
              <a:gd name="connsiteY189" fmla="*/ 2292985 h 6858001"/>
              <a:gd name="connsiteX190" fmla="*/ 4043606 w 8009775"/>
              <a:gd name="connsiteY190" fmla="*/ 2287588 h 6858001"/>
              <a:gd name="connsiteX191" fmla="*/ 4046267 w 8009775"/>
              <a:gd name="connsiteY191" fmla="*/ 2281873 h 6858001"/>
              <a:gd name="connsiteX192" fmla="*/ 4048040 w 8009775"/>
              <a:gd name="connsiteY192" fmla="*/ 2276476 h 6858001"/>
              <a:gd name="connsiteX193" fmla="*/ 4050109 w 8009775"/>
              <a:gd name="connsiteY193" fmla="*/ 2270761 h 6858001"/>
              <a:gd name="connsiteX194" fmla="*/ 4051587 w 8009775"/>
              <a:gd name="connsiteY194" fmla="*/ 2265046 h 6858001"/>
              <a:gd name="connsiteX195" fmla="*/ 4052769 w 8009775"/>
              <a:gd name="connsiteY195" fmla="*/ 2259331 h 6858001"/>
              <a:gd name="connsiteX196" fmla="*/ 4053656 w 8009775"/>
              <a:gd name="connsiteY196" fmla="*/ 2253298 h 6858001"/>
              <a:gd name="connsiteX197" fmla="*/ 4054542 w 8009775"/>
              <a:gd name="connsiteY197" fmla="*/ 2247266 h 6858001"/>
              <a:gd name="connsiteX198" fmla="*/ 4054838 w 8009775"/>
              <a:gd name="connsiteY198" fmla="*/ 2241551 h 6858001"/>
              <a:gd name="connsiteX199" fmla="*/ 4055133 w 8009775"/>
              <a:gd name="connsiteY199" fmla="*/ 2235519 h 6858001"/>
              <a:gd name="connsiteX200" fmla="*/ 4054838 w 8009775"/>
              <a:gd name="connsiteY200" fmla="*/ 2229804 h 6858001"/>
              <a:gd name="connsiteX201" fmla="*/ 4054542 w 8009775"/>
              <a:gd name="connsiteY201" fmla="*/ 2223770 h 6858001"/>
              <a:gd name="connsiteX202" fmla="*/ 4053656 w 8009775"/>
              <a:gd name="connsiteY202" fmla="*/ 2217739 h 6858001"/>
              <a:gd name="connsiteX203" fmla="*/ 4052769 w 8009775"/>
              <a:gd name="connsiteY203" fmla="*/ 2212024 h 6858001"/>
              <a:gd name="connsiteX204" fmla="*/ 4051587 w 8009775"/>
              <a:gd name="connsiteY204" fmla="*/ 2206309 h 6858001"/>
              <a:gd name="connsiteX205" fmla="*/ 4050109 w 8009775"/>
              <a:gd name="connsiteY205" fmla="*/ 2200593 h 6858001"/>
              <a:gd name="connsiteX206" fmla="*/ 4048040 w 8009775"/>
              <a:gd name="connsiteY206" fmla="*/ 2194878 h 6858001"/>
              <a:gd name="connsiteX207" fmla="*/ 4046267 w 8009775"/>
              <a:gd name="connsiteY207" fmla="*/ 2189163 h 6858001"/>
              <a:gd name="connsiteX208" fmla="*/ 4043606 w 8009775"/>
              <a:gd name="connsiteY208" fmla="*/ 2183765 h 6858001"/>
              <a:gd name="connsiteX209" fmla="*/ 4040946 w 8009775"/>
              <a:gd name="connsiteY209" fmla="*/ 2178368 h 6858001"/>
              <a:gd name="connsiteX210" fmla="*/ 4037991 w 8009775"/>
              <a:gd name="connsiteY210" fmla="*/ 2172970 h 6858001"/>
              <a:gd name="connsiteX211" fmla="*/ 4034740 w 8009775"/>
              <a:gd name="connsiteY211" fmla="*/ 2167890 h 6858001"/>
              <a:gd name="connsiteX212" fmla="*/ 4031193 w 8009775"/>
              <a:gd name="connsiteY212" fmla="*/ 2162494 h 6858001"/>
              <a:gd name="connsiteX213" fmla="*/ 4027646 w 8009775"/>
              <a:gd name="connsiteY213" fmla="*/ 2157730 h 6858001"/>
              <a:gd name="connsiteX214" fmla="*/ 4023213 w 8009775"/>
              <a:gd name="connsiteY214" fmla="*/ 2153285 h 6858001"/>
              <a:gd name="connsiteX215" fmla="*/ 4018779 w 8009775"/>
              <a:gd name="connsiteY215" fmla="*/ 2148523 h 6858001"/>
              <a:gd name="connsiteX216" fmla="*/ 3632182 w 8009775"/>
              <a:gd name="connsiteY216" fmla="*/ 1761490 h 6858001"/>
              <a:gd name="connsiteX217" fmla="*/ 3435928 w 8009775"/>
              <a:gd name="connsiteY217" fmla="*/ 1565276 h 6858001"/>
              <a:gd name="connsiteX218" fmla="*/ 3431198 w 8009775"/>
              <a:gd name="connsiteY218" fmla="*/ 1560514 h 6858001"/>
              <a:gd name="connsiteX219" fmla="*/ 3427356 w 8009775"/>
              <a:gd name="connsiteY219" fmla="*/ 1555751 h 6858001"/>
              <a:gd name="connsiteX220" fmla="*/ 3423218 w 8009775"/>
              <a:gd name="connsiteY220" fmla="*/ 1550671 h 6858001"/>
              <a:gd name="connsiteX221" fmla="*/ 3420262 w 8009775"/>
              <a:gd name="connsiteY221" fmla="*/ 1545909 h 6858001"/>
              <a:gd name="connsiteX222" fmla="*/ 3417012 w 8009775"/>
              <a:gd name="connsiteY222" fmla="*/ 1540829 h 6858001"/>
              <a:gd name="connsiteX223" fmla="*/ 3413760 w 8009775"/>
              <a:gd name="connsiteY223" fmla="*/ 1535430 h 6858001"/>
              <a:gd name="connsiteX224" fmla="*/ 3411100 w 8009775"/>
              <a:gd name="connsiteY224" fmla="*/ 1530034 h 6858001"/>
              <a:gd name="connsiteX225" fmla="*/ 3408736 w 8009775"/>
              <a:gd name="connsiteY225" fmla="*/ 1524635 h 6858001"/>
              <a:gd name="connsiteX226" fmla="*/ 3406371 w 8009775"/>
              <a:gd name="connsiteY226" fmla="*/ 1518920 h 6858001"/>
              <a:gd name="connsiteX227" fmla="*/ 3404598 w 8009775"/>
              <a:gd name="connsiteY227" fmla="*/ 1513205 h 6858001"/>
              <a:gd name="connsiteX228" fmla="*/ 3403120 w 8009775"/>
              <a:gd name="connsiteY228" fmla="*/ 1507174 h 6858001"/>
              <a:gd name="connsiteX229" fmla="*/ 3401938 w 8009775"/>
              <a:gd name="connsiteY229" fmla="*/ 1501459 h 6858001"/>
              <a:gd name="connsiteX230" fmla="*/ 3401051 w 8009775"/>
              <a:gd name="connsiteY230" fmla="*/ 1495744 h 6858001"/>
              <a:gd name="connsiteX231" fmla="*/ 3400460 w 8009775"/>
              <a:gd name="connsiteY231" fmla="*/ 1489710 h 6858001"/>
              <a:gd name="connsiteX232" fmla="*/ 3399869 w 8009775"/>
              <a:gd name="connsiteY232" fmla="*/ 1483995 h 6858001"/>
              <a:gd name="connsiteX233" fmla="*/ 3399573 w 8009775"/>
              <a:gd name="connsiteY233" fmla="*/ 1478281 h 6858001"/>
              <a:gd name="connsiteX234" fmla="*/ 3399869 w 8009775"/>
              <a:gd name="connsiteY234" fmla="*/ 1472249 h 6858001"/>
              <a:gd name="connsiteX235" fmla="*/ 3400460 w 8009775"/>
              <a:gd name="connsiteY235" fmla="*/ 1466215 h 6858001"/>
              <a:gd name="connsiteX236" fmla="*/ 3401051 w 8009775"/>
              <a:gd name="connsiteY236" fmla="*/ 1460183 h 6858001"/>
              <a:gd name="connsiteX237" fmla="*/ 3401938 w 8009775"/>
              <a:gd name="connsiteY237" fmla="*/ 1454468 h 6858001"/>
              <a:gd name="connsiteX238" fmla="*/ 3403120 w 8009775"/>
              <a:gd name="connsiteY238" fmla="*/ 1448754 h 6858001"/>
              <a:gd name="connsiteX239" fmla="*/ 3404598 w 8009775"/>
              <a:gd name="connsiteY239" fmla="*/ 1443039 h 6858001"/>
              <a:gd name="connsiteX240" fmla="*/ 3406371 w 8009775"/>
              <a:gd name="connsiteY240" fmla="*/ 1437324 h 6858001"/>
              <a:gd name="connsiteX241" fmla="*/ 3408736 w 8009775"/>
              <a:gd name="connsiteY241" fmla="*/ 1431609 h 6858001"/>
              <a:gd name="connsiteX242" fmla="*/ 3411100 w 8009775"/>
              <a:gd name="connsiteY242" fmla="*/ 1426211 h 6858001"/>
              <a:gd name="connsiteX243" fmla="*/ 3413760 w 8009775"/>
              <a:gd name="connsiteY243" fmla="*/ 1420814 h 6858001"/>
              <a:gd name="connsiteX244" fmla="*/ 3417012 w 8009775"/>
              <a:gd name="connsiteY244" fmla="*/ 1415416 h 6858001"/>
              <a:gd name="connsiteX245" fmla="*/ 3420262 w 8009775"/>
              <a:gd name="connsiteY245" fmla="*/ 1410336 h 6858001"/>
              <a:gd name="connsiteX246" fmla="*/ 3423218 w 8009775"/>
              <a:gd name="connsiteY246" fmla="*/ 1405256 h 6858001"/>
              <a:gd name="connsiteX247" fmla="*/ 3427356 w 8009775"/>
              <a:gd name="connsiteY247" fmla="*/ 1400175 h 6858001"/>
              <a:gd name="connsiteX248" fmla="*/ 3431198 w 8009775"/>
              <a:gd name="connsiteY248" fmla="*/ 1395731 h 6858001"/>
              <a:gd name="connsiteX249" fmla="*/ 3435928 w 8009775"/>
              <a:gd name="connsiteY249" fmla="*/ 1390969 h 6858001"/>
              <a:gd name="connsiteX250" fmla="*/ 3440361 w 8009775"/>
              <a:gd name="connsiteY250" fmla="*/ 1386524 h 6858001"/>
              <a:gd name="connsiteX251" fmla="*/ 3445386 w 8009775"/>
              <a:gd name="connsiteY251" fmla="*/ 1382396 h 6858001"/>
              <a:gd name="connsiteX252" fmla="*/ 3449819 w 8009775"/>
              <a:gd name="connsiteY252" fmla="*/ 1378585 h 6858001"/>
              <a:gd name="connsiteX253" fmla="*/ 3454844 w 8009775"/>
              <a:gd name="connsiteY253" fmla="*/ 1375094 h 6858001"/>
              <a:gd name="connsiteX254" fmla="*/ 3460459 w 8009775"/>
              <a:gd name="connsiteY254" fmla="*/ 1371919 h 6858001"/>
              <a:gd name="connsiteX255" fmla="*/ 3465780 w 8009775"/>
              <a:gd name="connsiteY255" fmla="*/ 1369061 h 6858001"/>
              <a:gd name="connsiteX256" fmla="*/ 3471100 w 8009775"/>
              <a:gd name="connsiteY256" fmla="*/ 1366204 h 6858001"/>
              <a:gd name="connsiteX257" fmla="*/ 3476420 w 8009775"/>
              <a:gd name="connsiteY257" fmla="*/ 1363980 h 6858001"/>
              <a:gd name="connsiteX258" fmla="*/ 3482331 w 8009775"/>
              <a:gd name="connsiteY258" fmla="*/ 1361759 h 6858001"/>
              <a:gd name="connsiteX259" fmla="*/ 3487947 w 8009775"/>
              <a:gd name="connsiteY259" fmla="*/ 1360170 h 6858001"/>
              <a:gd name="connsiteX260" fmla="*/ 3493858 w 8009775"/>
              <a:gd name="connsiteY260" fmla="*/ 1358265 h 6858001"/>
              <a:gd name="connsiteX261" fmla="*/ 3499474 w 8009775"/>
              <a:gd name="connsiteY261" fmla="*/ 1357314 h 6858001"/>
              <a:gd name="connsiteX262" fmla="*/ 3505385 w 8009775"/>
              <a:gd name="connsiteY262" fmla="*/ 1356043 h 6858001"/>
              <a:gd name="connsiteX263" fmla="*/ 3511001 w 8009775"/>
              <a:gd name="connsiteY263" fmla="*/ 1355409 h 6858001"/>
              <a:gd name="connsiteX264" fmla="*/ 3517208 w 8009775"/>
              <a:gd name="connsiteY264" fmla="*/ 1355090 h 6858001"/>
              <a:gd name="connsiteX265" fmla="*/ 3522823 w 8009775"/>
              <a:gd name="connsiteY265" fmla="*/ 1354773 h 6858001"/>
              <a:gd name="connsiteX266" fmla="*/ 3529030 w 8009775"/>
              <a:gd name="connsiteY266" fmla="*/ 1355090 h 6858001"/>
              <a:gd name="connsiteX267" fmla="*/ 3534646 w 8009775"/>
              <a:gd name="connsiteY267" fmla="*/ 1355409 h 6858001"/>
              <a:gd name="connsiteX268" fmla="*/ 3540557 w 8009775"/>
              <a:gd name="connsiteY268" fmla="*/ 1356043 h 6858001"/>
              <a:gd name="connsiteX269" fmla="*/ 3546468 w 8009775"/>
              <a:gd name="connsiteY269" fmla="*/ 1357314 h 6858001"/>
              <a:gd name="connsiteX270" fmla="*/ 3552380 w 8009775"/>
              <a:gd name="connsiteY270" fmla="*/ 1358265 h 6858001"/>
              <a:gd name="connsiteX271" fmla="*/ 3557995 w 8009775"/>
              <a:gd name="connsiteY271" fmla="*/ 1360170 h 6858001"/>
              <a:gd name="connsiteX272" fmla="*/ 3563906 w 8009775"/>
              <a:gd name="connsiteY272" fmla="*/ 1361759 h 6858001"/>
              <a:gd name="connsiteX273" fmla="*/ 3569227 w 8009775"/>
              <a:gd name="connsiteY273" fmla="*/ 1363980 h 6858001"/>
              <a:gd name="connsiteX274" fmla="*/ 3574842 w 8009775"/>
              <a:gd name="connsiteY274" fmla="*/ 1366204 h 6858001"/>
              <a:gd name="connsiteX275" fmla="*/ 3580458 w 8009775"/>
              <a:gd name="connsiteY275" fmla="*/ 1369061 h 6858001"/>
              <a:gd name="connsiteX276" fmla="*/ 3585778 w 8009775"/>
              <a:gd name="connsiteY276" fmla="*/ 1371919 h 6858001"/>
              <a:gd name="connsiteX277" fmla="*/ 3590803 w 8009775"/>
              <a:gd name="connsiteY277" fmla="*/ 1375094 h 6858001"/>
              <a:gd name="connsiteX278" fmla="*/ 3595828 w 8009775"/>
              <a:gd name="connsiteY278" fmla="*/ 1378585 h 6858001"/>
              <a:gd name="connsiteX279" fmla="*/ 3600852 w 8009775"/>
              <a:gd name="connsiteY279" fmla="*/ 1382396 h 6858001"/>
              <a:gd name="connsiteX280" fmla="*/ 3605581 w 8009775"/>
              <a:gd name="connsiteY280" fmla="*/ 1386524 h 6858001"/>
              <a:gd name="connsiteX281" fmla="*/ 3610014 w 8009775"/>
              <a:gd name="connsiteY281" fmla="*/ 1390969 h 6858001"/>
              <a:gd name="connsiteX282" fmla="*/ 3817500 w 8009775"/>
              <a:gd name="connsiteY282" fmla="*/ 1598296 h 6858001"/>
              <a:gd name="connsiteX283" fmla="*/ 3821934 w 8009775"/>
              <a:gd name="connsiteY283" fmla="*/ 1602423 h 6858001"/>
              <a:gd name="connsiteX284" fmla="*/ 3826663 w 8009775"/>
              <a:gd name="connsiteY284" fmla="*/ 1606869 h 6858001"/>
              <a:gd name="connsiteX285" fmla="*/ 3831687 w 8009775"/>
              <a:gd name="connsiteY285" fmla="*/ 1610361 h 6858001"/>
              <a:gd name="connsiteX286" fmla="*/ 3836712 w 8009775"/>
              <a:gd name="connsiteY286" fmla="*/ 1613854 h 6858001"/>
              <a:gd name="connsiteX287" fmla="*/ 3841736 w 8009775"/>
              <a:gd name="connsiteY287" fmla="*/ 1617345 h 6858001"/>
              <a:gd name="connsiteX288" fmla="*/ 3847352 w 8009775"/>
              <a:gd name="connsiteY288" fmla="*/ 1620204 h 6858001"/>
              <a:gd name="connsiteX289" fmla="*/ 3852672 w 8009775"/>
              <a:gd name="connsiteY289" fmla="*/ 1623061 h 6858001"/>
              <a:gd name="connsiteX290" fmla="*/ 3857992 w 8009775"/>
              <a:gd name="connsiteY290" fmla="*/ 1625283 h 6858001"/>
              <a:gd name="connsiteX291" fmla="*/ 3863608 w 8009775"/>
              <a:gd name="connsiteY291" fmla="*/ 1627189 h 6858001"/>
              <a:gd name="connsiteX292" fmla="*/ 3869519 w 8009775"/>
              <a:gd name="connsiteY292" fmla="*/ 1629094 h 6858001"/>
              <a:gd name="connsiteX293" fmla="*/ 3875135 w 8009775"/>
              <a:gd name="connsiteY293" fmla="*/ 1630998 h 6858001"/>
              <a:gd name="connsiteX294" fmla="*/ 3881046 w 8009775"/>
              <a:gd name="connsiteY294" fmla="*/ 1631950 h 6858001"/>
              <a:gd name="connsiteX295" fmla="*/ 3886662 w 8009775"/>
              <a:gd name="connsiteY295" fmla="*/ 1632904 h 6858001"/>
              <a:gd name="connsiteX296" fmla="*/ 3892869 w 8009775"/>
              <a:gd name="connsiteY296" fmla="*/ 1633856 h 6858001"/>
              <a:gd name="connsiteX297" fmla="*/ 3898485 w 8009775"/>
              <a:gd name="connsiteY297" fmla="*/ 1634174 h 6858001"/>
              <a:gd name="connsiteX298" fmla="*/ 3904396 w 8009775"/>
              <a:gd name="connsiteY298" fmla="*/ 1634174 h 6858001"/>
              <a:gd name="connsiteX299" fmla="*/ 3910307 w 8009775"/>
              <a:gd name="connsiteY299" fmla="*/ 1634174 h 6858001"/>
              <a:gd name="connsiteX300" fmla="*/ 3916219 w 8009775"/>
              <a:gd name="connsiteY300" fmla="*/ 1633856 h 6858001"/>
              <a:gd name="connsiteX301" fmla="*/ 3922425 w 8009775"/>
              <a:gd name="connsiteY301" fmla="*/ 1632904 h 6858001"/>
              <a:gd name="connsiteX302" fmla="*/ 3928041 w 8009775"/>
              <a:gd name="connsiteY302" fmla="*/ 1631950 h 6858001"/>
              <a:gd name="connsiteX303" fmla="*/ 3933657 w 8009775"/>
              <a:gd name="connsiteY303" fmla="*/ 1630998 h 6858001"/>
              <a:gd name="connsiteX304" fmla="*/ 3939568 w 8009775"/>
              <a:gd name="connsiteY304" fmla="*/ 1629094 h 6858001"/>
              <a:gd name="connsiteX305" fmla="*/ 3945184 w 8009775"/>
              <a:gd name="connsiteY305" fmla="*/ 1627189 h 6858001"/>
              <a:gd name="connsiteX306" fmla="*/ 3950799 w 8009775"/>
              <a:gd name="connsiteY306" fmla="*/ 1625283 h 6858001"/>
              <a:gd name="connsiteX307" fmla="*/ 3956415 w 8009775"/>
              <a:gd name="connsiteY307" fmla="*/ 1623061 h 6858001"/>
              <a:gd name="connsiteX308" fmla="*/ 3961735 w 8009775"/>
              <a:gd name="connsiteY308" fmla="*/ 1620204 h 6858001"/>
              <a:gd name="connsiteX309" fmla="*/ 3967055 w 8009775"/>
              <a:gd name="connsiteY309" fmla="*/ 1617345 h 6858001"/>
              <a:gd name="connsiteX310" fmla="*/ 3972376 w 8009775"/>
              <a:gd name="connsiteY310" fmla="*/ 1613854 h 6858001"/>
              <a:gd name="connsiteX311" fmla="*/ 3977400 w 8009775"/>
              <a:gd name="connsiteY311" fmla="*/ 1610361 h 6858001"/>
              <a:gd name="connsiteX312" fmla="*/ 3982425 w 8009775"/>
              <a:gd name="connsiteY312" fmla="*/ 1606869 h 6858001"/>
              <a:gd name="connsiteX313" fmla="*/ 3986858 w 8009775"/>
              <a:gd name="connsiteY313" fmla="*/ 1602423 h 6858001"/>
              <a:gd name="connsiteX314" fmla="*/ 3991587 w 8009775"/>
              <a:gd name="connsiteY314" fmla="*/ 1598296 h 6858001"/>
              <a:gd name="connsiteX315" fmla="*/ 3996021 w 8009775"/>
              <a:gd name="connsiteY315" fmla="*/ 1593533 h 6858001"/>
              <a:gd name="connsiteX316" fmla="*/ 4000159 w 8009775"/>
              <a:gd name="connsiteY316" fmla="*/ 1588771 h 6858001"/>
              <a:gd name="connsiteX317" fmla="*/ 4003705 w 8009775"/>
              <a:gd name="connsiteY317" fmla="*/ 1583691 h 6858001"/>
              <a:gd name="connsiteX318" fmla="*/ 4007548 w 8009775"/>
              <a:gd name="connsiteY318" fmla="*/ 1578928 h 6858001"/>
              <a:gd name="connsiteX319" fmla="*/ 4010799 w 8009775"/>
              <a:gd name="connsiteY319" fmla="*/ 1573849 h 6858001"/>
              <a:gd name="connsiteX320" fmla="*/ 4013459 w 8009775"/>
              <a:gd name="connsiteY320" fmla="*/ 1568451 h 6858001"/>
              <a:gd name="connsiteX321" fmla="*/ 4016415 w 8009775"/>
              <a:gd name="connsiteY321" fmla="*/ 1563054 h 6858001"/>
              <a:gd name="connsiteX322" fmla="*/ 4018484 w 8009775"/>
              <a:gd name="connsiteY322" fmla="*/ 1557339 h 6858001"/>
              <a:gd name="connsiteX323" fmla="*/ 4020848 w 8009775"/>
              <a:gd name="connsiteY323" fmla="*/ 1551941 h 6858001"/>
              <a:gd name="connsiteX324" fmla="*/ 4022621 w 8009775"/>
              <a:gd name="connsiteY324" fmla="*/ 1546226 h 6858001"/>
              <a:gd name="connsiteX325" fmla="*/ 4024395 w 8009775"/>
              <a:gd name="connsiteY325" fmla="*/ 1540511 h 6858001"/>
              <a:gd name="connsiteX326" fmla="*/ 4025282 w 8009775"/>
              <a:gd name="connsiteY326" fmla="*/ 1534478 h 6858001"/>
              <a:gd name="connsiteX327" fmla="*/ 4026464 w 8009775"/>
              <a:gd name="connsiteY327" fmla="*/ 1528763 h 6858001"/>
              <a:gd name="connsiteX328" fmla="*/ 4027055 w 8009775"/>
              <a:gd name="connsiteY328" fmla="*/ 1522731 h 6858001"/>
              <a:gd name="connsiteX329" fmla="*/ 4027646 w 8009775"/>
              <a:gd name="connsiteY329" fmla="*/ 1517016 h 6858001"/>
              <a:gd name="connsiteX330" fmla="*/ 4027646 w 8009775"/>
              <a:gd name="connsiteY330" fmla="*/ 1510984 h 6858001"/>
              <a:gd name="connsiteX331" fmla="*/ 4027646 w 8009775"/>
              <a:gd name="connsiteY331" fmla="*/ 1505268 h 6858001"/>
              <a:gd name="connsiteX332" fmla="*/ 4027055 w 8009775"/>
              <a:gd name="connsiteY332" fmla="*/ 1499553 h 6858001"/>
              <a:gd name="connsiteX333" fmla="*/ 4026464 w 8009775"/>
              <a:gd name="connsiteY333" fmla="*/ 1493204 h 6858001"/>
              <a:gd name="connsiteX334" fmla="*/ 4025282 w 8009775"/>
              <a:gd name="connsiteY334" fmla="*/ 1487489 h 6858001"/>
              <a:gd name="connsiteX335" fmla="*/ 4024395 w 8009775"/>
              <a:gd name="connsiteY335" fmla="*/ 1481773 h 6858001"/>
              <a:gd name="connsiteX336" fmla="*/ 4022621 w 8009775"/>
              <a:gd name="connsiteY336" fmla="*/ 1476058 h 6858001"/>
              <a:gd name="connsiteX337" fmla="*/ 4020848 w 8009775"/>
              <a:gd name="connsiteY337" fmla="*/ 1470343 h 6858001"/>
              <a:gd name="connsiteX338" fmla="*/ 4018484 w 8009775"/>
              <a:gd name="connsiteY338" fmla="*/ 1464629 h 6858001"/>
              <a:gd name="connsiteX339" fmla="*/ 4016415 w 8009775"/>
              <a:gd name="connsiteY339" fmla="*/ 1459231 h 6858001"/>
              <a:gd name="connsiteX340" fmla="*/ 4013459 w 8009775"/>
              <a:gd name="connsiteY340" fmla="*/ 1453834 h 6858001"/>
              <a:gd name="connsiteX341" fmla="*/ 4010799 w 8009775"/>
              <a:gd name="connsiteY341" fmla="*/ 1448436 h 6858001"/>
              <a:gd name="connsiteX342" fmla="*/ 4007548 w 8009775"/>
              <a:gd name="connsiteY342" fmla="*/ 1443356 h 6858001"/>
              <a:gd name="connsiteX343" fmla="*/ 4003705 w 8009775"/>
              <a:gd name="connsiteY343" fmla="*/ 1438275 h 6858001"/>
              <a:gd name="connsiteX344" fmla="*/ 4000159 w 8009775"/>
              <a:gd name="connsiteY344" fmla="*/ 1433195 h 6858001"/>
              <a:gd name="connsiteX345" fmla="*/ 3996021 w 8009775"/>
              <a:gd name="connsiteY345" fmla="*/ 1428751 h 6858001"/>
              <a:gd name="connsiteX346" fmla="*/ 3991587 w 8009775"/>
              <a:gd name="connsiteY346" fmla="*/ 1423988 h 6858001"/>
              <a:gd name="connsiteX347" fmla="*/ 3323022 w 8009775"/>
              <a:gd name="connsiteY347" fmla="*/ 755333 h 6858001"/>
              <a:gd name="connsiteX348" fmla="*/ 3316815 w 8009775"/>
              <a:gd name="connsiteY348" fmla="*/ 748348 h 6858001"/>
              <a:gd name="connsiteX349" fmla="*/ 3310904 w 8009775"/>
              <a:gd name="connsiteY349" fmla="*/ 741045 h 6858001"/>
              <a:gd name="connsiteX350" fmla="*/ 3305584 w 8009775"/>
              <a:gd name="connsiteY350" fmla="*/ 733108 h 6858001"/>
              <a:gd name="connsiteX351" fmla="*/ 3300855 w 8009775"/>
              <a:gd name="connsiteY351" fmla="*/ 725170 h 6858001"/>
              <a:gd name="connsiteX352" fmla="*/ 3297308 w 8009775"/>
              <a:gd name="connsiteY352" fmla="*/ 716915 h 6858001"/>
              <a:gd name="connsiteX353" fmla="*/ 3293761 w 8009775"/>
              <a:gd name="connsiteY353" fmla="*/ 708660 h 6858001"/>
              <a:gd name="connsiteX354" fmla="*/ 3291101 w 8009775"/>
              <a:gd name="connsiteY354" fmla="*/ 699770 h 6858001"/>
              <a:gd name="connsiteX355" fmla="*/ 3289328 w 8009775"/>
              <a:gd name="connsiteY355" fmla="*/ 691198 h 6858001"/>
              <a:gd name="connsiteX356" fmla="*/ 2596527 w 8009775"/>
              <a:gd name="connsiteY356" fmla="*/ 0 h 6858001"/>
              <a:gd name="connsiteX0" fmla="*/ 2596527 w 8009775"/>
              <a:gd name="connsiteY0" fmla="*/ 0 h 6858001"/>
              <a:gd name="connsiteX1" fmla="*/ 2165004 w 8009775"/>
              <a:gd name="connsiteY1" fmla="*/ 0 h 6858001"/>
              <a:gd name="connsiteX2" fmla="*/ 3265978 w 8009775"/>
              <a:gd name="connsiteY2" fmla="*/ 1101091 h 6858001"/>
              <a:gd name="connsiteX3" fmla="*/ 3270708 w 8009775"/>
              <a:gd name="connsiteY3" fmla="*/ 1105854 h 6858001"/>
              <a:gd name="connsiteX4" fmla="*/ 3274550 w 8009775"/>
              <a:gd name="connsiteY4" fmla="*/ 1110615 h 6858001"/>
              <a:gd name="connsiteX5" fmla="*/ 3278688 w 8009775"/>
              <a:gd name="connsiteY5" fmla="*/ 1115696 h 6858001"/>
              <a:gd name="connsiteX6" fmla="*/ 3282234 w 8009775"/>
              <a:gd name="connsiteY6" fmla="*/ 1120776 h 6858001"/>
              <a:gd name="connsiteX7" fmla="*/ 3285486 w 8009775"/>
              <a:gd name="connsiteY7" fmla="*/ 1126174 h 6858001"/>
              <a:gd name="connsiteX8" fmla="*/ 3288146 w 8009775"/>
              <a:gd name="connsiteY8" fmla="*/ 1131570 h 6858001"/>
              <a:gd name="connsiteX9" fmla="*/ 3291101 w 8009775"/>
              <a:gd name="connsiteY9" fmla="*/ 1136968 h 6858001"/>
              <a:gd name="connsiteX10" fmla="*/ 3293761 w 8009775"/>
              <a:gd name="connsiteY10" fmla="*/ 1142366 h 6858001"/>
              <a:gd name="connsiteX11" fmla="*/ 3295830 w 8009775"/>
              <a:gd name="connsiteY11" fmla="*/ 1148081 h 6858001"/>
              <a:gd name="connsiteX12" fmla="*/ 3297604 w 8009775"/>
              <a:gd name="connsiteY12" fmla="*/ 1153796 h 6858001"/>
              <a:gd name="connsiteX13" fmla="*/ 3299082 w 8009775"/>
              <a:gd name="connsiteY13" fmla="*/ 1159829 h 6858001"/>
              <a:gd name="connsiteX14" fmla="*/ 3300559 w 8009775"/>
              <a:gd name="connsiteY14" fmla="*/ 1165544 h 6858001"/>
              <a:gd name="connsiteX15" fmla="*/ 3301446 w 8009775"/>
              <a:gd name="connsiteY15" fmla="*/ 1171893 h 6858001"/>
              <a:gd name="connsiteX16" fmla="*/ 3302333 w 8009775"/>
              <a:gd name="connsiteY16" fmla="*/ 1177608 h 6858001"/>
              <a:gd name="connsiteX17" fmla="*/ 3302628 w 8009775"/>
              <a:gd name="connsiteY17" fmla="*/ 1183641 h 6858001"/>
              <a:gd name="connsiteX18" fmla="*/ 3302628 w 8009775"/>
              <a:gd name="connsiteY18" fmla="*/ 1189356 h 6858001"/>
              <a:gd name="connsiteX19" fmla="*/ 3302628 w 8009775"/>
              <a:gd name="connsiteY19" fmla="*/ 1195388 h 6858001"/>
              <a:gd name="connsiteX20" fmla="*/ 3302333 w 8009775"/>
              <a:gd name="connsiteY20" fmla="*/ 1201739 h 6858001"/>
              <a:gd name="connsiteX21" fmla="*/ 3301446 w 8009775"/>
              <a:gd name="connsiteY21" fmla="*/ 1207454 h 6858001"/>
              <a:gd name="connsiteX22" fmla="*/ 3300559 w 8009775"/>
              <a:gd name="connsiteY22" fmla="*/ 1213486 h 6858001"/>
              <a:gd name="connsiteX23" fmla="*/ 3299082 w 8009775"/>
              <a:gd name="connsiteY23" fmla="*/ 1219200 h 6858001"/>
              <a:gd name="connsiteX24" fmla="*/ 3297604 w 8009775"/>
              <a:gd name="connsiteY24" fmla="*/ 1225233 h 6858001"/>
              <a:gd name="connsiteX25" fmla="*/ 3295830 w 8009775"/>
              <a:gd name="connsiteY25" fmla="*/ 1230949 h 6858001"/>
              <a:gd name="connsiteX26" fmla="*/ 3293761 w 8009775"/>
              <a:gd name="connsiteY26" fmla="*/ 1236346 h 6858001"/>
              <a:gd name="connsiteX27" fmla="*/ 3291101 w 8009775"/>
              <a:gd name="connsiteY27" fmla="*/ 1242061 h 6858001"/>
              <a:gd name="connsiteX28" fmla="*/ 3288146 w 8009775"/>
              <a:gd name="connsiteY28" fmla="*/ 1247459 h 6858001"/>
              <a:gd name="connsiteX29" fmla="*/ 3285486 w 8009775"/>
              <a:gd name="connsiteY29" fmla="*/ 1252855 h 6858001"/>
              <a:gd name="connsiteX30" fmla="*/ 3282234 w 8009775"/>
              <a:gd name="connsiteY30" fmla="*/ 1258254 h 6858001"/>
              <a:gd name="connsiteX31" fmla="*/ 3278688 w 8009775"/>
              <a:gd name="connsiteY31" fmla="*/ 1263333 h 6858001"/>
              <a:gd name="connsiteX32" fmla="*/ 3274550 w 8009775"/>
              <a:gd name="connsiteY32" fmla="*/ 1268413 h 6858001"/>
              <a:gd name="connsiteX33" fmla="*/ 3270708 w 8009775"/>
              <a:gd name="connsiteY33" fmla="*/ 1273494 h 6858001"/>
              <a:gd name="connsiteX34" fmla="*/ 3265978 w 8009775"/>
              <a:gd name="connsiteY34" fmla="*/ 1278255 h 6858001"/>
              <a:gd name="connsiteX35" fmla="*/ 3261249 w 8009775"/>
              <a:gd name="connsiteY35" fmla="*/ 1282384 h 6858001"/>
              <a:gd name="connsiteX36" fmla="*/ 3256816 w 8009775"/>
              <a:gd name="connsiteY36" fmla="*/ 1286510 h 6858001"/>
              <a:gd name="connsiteX37" fmla="*/ 3251791 w 8009775"/>
              <a:gd name="connsiteY37" fmla="*/ 1290321 h 6858001"/>
              <a:gd name="connsiteX38" fmla="*/ 3246767 w 8009775"/>
              <a:gd name="connsiteY38" fmla="*/ 1293814 h 6858001"/>
              <a:gd name="connsiteX39" fmla="*/ 3241151 w 8009775"/>
              <a:gd name="connsiteY39" fmla="*/ 1297306 h 6858001"/>
              <a:gd name="connsiteX40" fmla="*/ 3235831 w 8009775"/>
              <a:gd name="connsiteY40" fmla="*/ 1300481 h 6858001"/>
              <a:gd name="connsiteX41" fmla="*/ 3230511 w 8009775"/>
              <a:gd name="connsiteY41" fmla="*/ 1303021 h 6858001"/>
              <a:gd name="connsiteX42" fmla="*/ 3224600 w 8009775"/>
              <a:gd name="connsiteY42" fmla="*/ 1305560 h 6858001"/>
              <a:gd name="connsiteX43" fmla="*/ 3218984 w 8009775"/>
              <a:gd name="connsiteY43" fmla="*/ 1307465 h 6858001"/>
              <a:gd name="connsiteX44" fmla="*/ 3213072 w 8009775"/>
              <a:gd name="connsiteY44" fmla="*/ 1309371 h 6858001"/>
              <a:gd name="connsiteX45" fmla="*/ 3207457 w 8009775"/>
              <a:gd name="connsiteY45" fmla="*/ 1311275 h 6858001"/>
              <a:gd name="connsiteX46" fmla="*/ 3201841 w 8009775"/>
              <a:gd name="connsiteY46" fmla="*/ 1312228 h 6858001"/>
              <a:gd name="connsiteX47" fmla="*/ 3195634 w 8009775"/>
              <a:gd name="connsiteY47" fmla="*/ 1313180 h 6858001"/>
              <a:gd name="connsiteX48" fmla="*/ 3189428 w 8009775"/>
              <a:gd name="connsiteY48" fmla="*/ 1314133 h 6858001"/>
              <a:gd name="connsiteX49" fmla="*/ 3183812 w 8009775"/>
              <a:gd name="connsiteY49" fmla="*/ 1314450 h 6858001"/>
              <a:gd name="connsiteX50" fmla="*/ 3177605 w 8009775"/>
              <a:gd name="connsiteY50" fmla="*/ 1314769 h 6858001"/>
              <a:gd name="connsiteX51" fmla="*/ 3171694 w 8009775"/>
              <a:gd name="connsiteY51" fmla="*/ 1314450 h 6858001"/>
              <a:gd name="connsiteX52" fmla="*/ 3165782 w 8009775"/>
              <a:gd name="connsiteY52" fmla="*/ 1314133 h 6858001"/>
              <a:gd name="connsiteX53" fmla="*/ 3159576 w 8009775"/>
              <a:gd name="connsiteY53" fmla="*/ 1313180 h 6858001"/>
              <a:gd name="connsiteX54" fmla="*/ 3153960 w 8009775"/>
              <a:gd name="connsiteY54" fmla="*/ 1312228 h 6858001"/>
              <a:gd name="connsiteX55" fmla="*/ 3147753 w 8009775"/>
              <a:gd name="connsiteY55" fmla="*/ 1311275 h 6858001"/>
              <a:gd name="connsiteX56" fmla="*/ 3142137 w 8009775"/>
              <a:gd name="connsiteY56" fmla="*/ 1309371 h 6858001"/>
              <a:gd name="connsiteX57" fmla="*/ 3136226 w 8009775"/>
              <a:gd name="connsiteY57" fmla="*/ 1307465 h 6858001"/>
              <a:gd name="connsiteX58" fmla="*/ 3130610 w 8009775"/>
              <a:gd name="connsiteY58" fmla="*/ 1305560 h 6858001"/>
              <a:gd name="connsiteX59" fmla="*/ 3124994 w 8009775"/>
              <a:gd name="connsiteY59" fmla="*/ 1303021 h 6858001"/>
              <a:gd name="connsiteX60" fmla="*/ 3119379 w 8009775"/>
              <a:gd name="connsiteY60" fmla="*/ 1300481 h 6858001"/>
              <a:gd name="connsiteX61" fmla="*/ 3114059 w 8009775"/>
              <a:gd name="connsiteY61" fmla="*/ 1297306 h 6858001"/>
              <a:gd name="connsiteX62" fmla="*/ 3109034 w 8009775"/>
              <a:gd name="connsiteY62" fmla="*/ 1293814 h 6858001"/>
              <a:gd name="connsiteX63" fmla="*/ 3103714 w 8009775"/>
              <a:gd name="connsiteY63" fmla="*/ 1290321 h 6858001"/>
              <a:gd name="connsiteX64" fmla="*/ 3098689 w 8009775"/>
              <a:gd name="connsiteY64" fmla="*/ 1286510 h 6858001"/>
              <a:gd name="connsiteX65" fmla="*/ 3093960 w 8009775"/>
              <a:gd name="connsiteY65" fmla="*/ 1282384 h 6858001"/>
              <a:gd name="connsiteX66" fmla="*/ 3089231 w 8009775"/>
              <a:gd name="connsiteY66" fmla="*/ 1278255 h 6858001"/>
              <a:gd name="connsiteX67" fmla="*/ 1811214 w 8009775"/>
              <a:gd name="connsiteY67" fmla="*/ 0 h 6858001"/>
              <a:gd name="connsiteX68" fmla="*/ 551808 w 8009775"/>
              <a:gd name="connsiteY68" fmla="*/ 0 h 6858001"/>
              <a:gd name="connsiteX69" fmla="*/ 408933 w 8009775"/>
              <a:gd name="connsiteY69" fmla="*/ 0 h 6858001"/>
              <a:gd name="connsiteX70" fmla="*/ 55488 w 8009775"/>
              <a:gd name="connsiteY70" fmla="*/ 0 h 6858001"/>
              <a:gd name="connsiteX71" fmla="*/ 0 w 8009775"/>
              <a:gd name="connsiteY71" fmla="*/ 0 h 6858001"/>
              <a:gd name="connsiteX72" fmla="*/ 0 w 8009775"/>
              <a:gd name="connsiteY72" fmla="*/ 6858000 h 6858001"/>
              <a:gd name="connsiteX73" fmla="*/ 7004395 w 8009775"/>
              <a:gd name="connsiteY73" fmla="*/ 6858000 h 6858001"/>
              <a:gd name="connsiteX74" fmla="*/ 7099646 w 8009775"/>
              <a:gd name="connsiteY74" fmla="*/ 6858001 h 6858001"/>
              <a:gd name="connsiteX75" fmla="*/ 7364776 w 8009775"/>
              <a:gd name="connsiteY75" fmla="*/ 6858001 h 6858001"/>
              <a:gd name="connsiteX76" fmla="*/ 7460026 w 8009775"/>
              <a:gd name="connsiteY76" fmla="*/ 6858001 h 6858001"/>
              <a:gd name="connsiteX77" fmla="*/ 7507651 w 8009775"/>
              <a:gd name="connsiteY77" fmla="*/ 6858001 h 6858001"/>
              <a:gd name="connsiteX78" fmla="*/ 7507650 w 8009775"/>
              <a:gd name="connsiteY78" fmla="*/ 6858000 h 6858001"/>
              <a:gd name="connsiteX79" fmla="*/ 8009775 w 8009775"/>
              <a:gd name="connsiteY79" fmla="*/ 6858000 h 6858001"/>
              <a:gd name="connsiteX80" fmla="*/ 3996316 w 8009775"/>
              <a:gd name="connsiteY80" fmla="*/ 2818448 h 6858001"/>
              <a:gd name="connsiteX81" fmla="*/ 3980947 w 8009775"/>
              <a:gd name="connsiteY81" fmla="*/ 2804795 h 6858001"/>
              <a:gd name="connsiteX82" fmla="*/ 3965282 w 8009775"/>
              <a:gd name="connsiteY82" fmla="*/ 2791144 h 6858001"/>
              <a:gd name="connsiteX83" fmla="*/ 3950799 w 8009775"/>
              <a:gd name="connsiteY83" fmla="*/ 2776856 h 6858001"/>
              <a:gd name="connsiteX84" fmla="*/ 3936021 w 8009775"/>
              <a:gd name="connsiteY84" fmla="*/ 2762568 h 6858001"/>
              <a:gd name="connsiteX85" fmla="*/ 3001744 w 8009775"/>
              <a:gd name="connsiteY85" fmla="*/ 1828166 h 6858001"/>
              <a:gd name="connsiteX86" fmla="*/ 2997311 w 8009775"/>
              <a:gd name="connsiteY86" fmla="*/ 1823404 h 6858001"/>
              <a:gd name="connsiteX87" fmla="*/ 2992878 w 8009775"/>
              <a:gd name="connsiteY87" fmla="*/ 1818640 h 6858001"/>
              <a:gd name="connsiteX88" fmla="*/ 2989331 w 8009775"/>
              <a:gd name="connsiteY88" fmla="*/ 1814195 h 6858001"/>
              <a:gd name="connsiteX89" fmla="*/ 2985784 w 8009775"/>
              <a:gd name="connsiteY89" fmla="*/ 1808799 h 6858001"/>
              <a:gd name="connsiteX90" fmla="*/ 2982533 w 8009775"/>
              <a:gd name="connsiteY90" fmla="*/ 1803718 h 6858001"/>
              <a:gd name="connsiteX91" fmla="*/ 2979873 w 8009775"/>
              <a:gd name="connsiteY91" fmla="*/ 1798321 h 6858001"/>
              <a:gd name="connsiteX92" fmla="*/ 2976917 w 8009775"/>
              <a:gd name="connsiteY92" fmla="*/ 1792924 h 6858001"/>
              <a:gd name="connsiteX93" fmla="*/ 2974552 w 8009775"/>
              <a:gd name="connsiteY93" fmla="*/ 1787526 h 6858001"/>
              <a:gd name="connsiteX94" fmla="*/ 2972484 w 8009775"/>
              <a:gd name="connsiteY94" fmla="*/ 1781811 h 6858001"/>
              <a:gd name="connsiteX95" fmla="*/ 2970710 w 8009775"/>
              <a:gd name="connsiteY95" fmla="*/ 1776095 h 6858001"/>
              <a:gd name="connsiteX96" fmla="*/ 2968937 w 8009775"/>
              <a:gd name="connsiteY96" fmla="*/ 1770380 h 6858001"/>
              <a:gd name="connsiteX97" fmla="*/ 2967755 w 8009775"/>
              <a:gd name="connsiteY97" fmla="*/ 1764665 h 6858001"/>
              <a:gd name="connsiteX98" fmla="*/ 2966868 w 8009775"/>
              <a:gd name="connsiteY98" fmla="*/ 1758634 h 6858001"/>
              <a:gd name="connsiteX99" fmla="*/ 2965981 w 8009775"/>
              <a:gd name="connsiteY99" fmla="*/ 1752919 h 6858001"/>
              <a:gd name="connsiteX100" fmla="*/ 2965686 w 8009775"/>
              <a:gd name="connsiteY100" fmla="*/ 1746885 h 6858001"/>
              <a:gd name="connsiteX101" fmla="*/ 2965686 w 8009775"/>
              <a:gd name="connsiteY101" fmla="*/ 1741170 h 6858001"/>
              <a:gd name="connsiteX102" fmla="*/ 2965686 w 8009775"/>
              <a:gd name="connsiteY102" fmla="*/ 1735139 h 6858001"/>
              <a:gd name="connsiteX103" fmla="*/ 2965981 w 8009775"/>
              <a:gd name="connsiteY103" fmla="*/ 1729424 h 6858001"/>
              <a:gd name="connsiteX104" fmla="*/ 2966868 w 8009775"/>
              <a:gd name="connsiteY104" fmla="*/ 1723074 h 6858001"/>
              <a:gd name="connsiteX105" fmla="*/ 2967755 w 8009775"/>
              <a:gd name="connsiteY105" fmla="*/ 1717358 h 6858001"/>
              <a:gd name="connsiteX106" fmla="*/ 2968937 w 8009775"/>
              <a:gd name="connsiteY106" fmla="*/ 1711643 h 6858001"/>
              <a:gd name="connsiteX107" fmla="*/ 2970710 w 8009775"/>
              <a:gd name="connsiteY107" fmla="*/ 1705929 h 6858001"/>
              <a:gd name="connsiteX108" fmla="*/ 2972484 w 8009775"/>
              <a:gd name="connsiteY108" fmla="*/ 1700214 h 6858001"/>
              <a:gd name="connsiteX109" fmla="*/ 2974552 w 8009775"/>
              <a:gd name="connsiteY109" fmla="*/ 1694816 h 6858001"/>
              <a:gd name="connsiteX110" fmla="*/ 2976917 w 8009775"/>
              <a:gd name="connsiteY110" fmla="*/ 1689101 h 6858001"/>
              <a:gd name="connsiteX111" fmla="*/ 2979873 w 8009775"/>
              <a:gd name="connsiteY111" fmla="*/ 1683703 h 6858001"/>
              <a:gd name="connsiteX112" fmla="*/ 2982533 w 8009775"/>
              <a:gd name="connsiteY112" fmla="*/ 1678305 h 6858001"/>
              <a:gd name="connsiteX113" fmla="*/ 2985784 w 8009775"/>
              <a:gd name="connsiteY113" fmla="*/ 1673226 h 6858001"/>
              <a:gd name="connsiteX114" fmla="*/ 2989331 w 8009775"/>
              <a:gd name="connsiteY114" fmla="*/ 1668145 h 6858001"/>
              <a:gd name="connsiteX115" fmla="*/ 2992878 w 8009775"/>
              <a:gd name="connsiteY115" fmla="*/ 1663066 h 6858001"/>
              <a:gd name="connsiteX116" fmla="*/ 2997311 w 8009775"/>
              <a:gd name="connsiteY116" fmla="*/ 1658621 h 6858001"/>
              <a:gd name="connsiteX117" fmla="*/ 3001744 w 8009775"/>
              <a:gd name="connsiteY117" fmla="*/ 1653859 h 6858001"/>
              <a:gd name="connsiteX118" fmla="*/ 3006178 w 8009775"/>
              <a:gd name="connsiteY118" fmla="*/ 1649414 h 6858001"/>
              <a:gd name="connsiteX119" fmla="*/ 3010907 w 8009775"/>
              <a:gd name="connsiteY119" fmla="*/ 1645603 h 6858001"/>
              <a:gd name="connsiteX120" fmla="*/ 3015932 w 8009775"/>
              <a:gd name="connsiteY120" fmla="*/ 1641794 h 6858001"/>
              <a:gd name="connsiteX121" fmla="*/ 3020956 w 8009775"/>
              <a:gd name="connsiteY121" fmla="*/ 1637984 h 6858001"/>
              <a:gd name="connsiteX122" fmla="*/ 3025981 w 8009775"/>
              <a:gd name="connsiteY122" fmla="*/ 1634809 h 6858001"/>
              <a:gd name="connsiteX123" fmla="*/ 3031596 w 8009775"/>
              <a:gd name="connsiteY123" fmla="*/ 1631950 h 6858001"/>
              <a:gd name="connsiteX124" fmla="*/ 3036916 w 8009775"/>
              <a:gd name="connsiteY124" fmla="*/ 1629094 h 6858001"/>
              <a:gd name="connsiteX125" fmla="*/ 3042532 w 8009775"/>
              <a:gd name="connsiteY125" fmla="*/ 1626871 h 6858001"/>
              <a:gd name="connsiteX126" fmla="*/ 3047852 w 8009775"/>
              <a:gd name="connsiteY126" fmla="*/ 1624649 h 6858001"/>
              <a:gd name="connsiteX127" fmla="*/ 3053764 w 8009775"/>
              <a:gd name="connsiteY127" fmla="*/ 1623061 h 6858001"/>
              <a:gd name="connsiteX128" fmla="*/ 3059379 w 8009775"/>
              <a:gd name="connsiteY128" fmla="*/ 1621155 h 6858001"/>
              <a:gd name="connsiteX129" fmla="*/ 3065291 w 8009775"/>
              <a:gd name="connsiteY129" fmla="*/ 1620204 h 6858001"/>
              <a:gd name="connsiteX130" fmla="*/ 3070906 w 8009775"/>
              <a:gd name="connsiteY130" fmla="*/ 1618934 h 6858001"/>
              <a:gd name="connsiteX131" fmla="*/ 3077113 w 8009775"/>
              <a:gd name="connsiteY131" fmla="*/ 1618299 h 6858001"/>
              <a:gd name="connsiteX132" fmla="*/ 3082729 w 8009775"/>
              <a:gd name="connsiteY132" fmla="*/ 1617981 h 6858001"/>
              <a:gd name="connsiteX133" fmla="*/ 3088936 w 8009775"/>
              <a:gd name="connsiteY133" fmla="*/ 1617981 h 6858001"/>
              <a:gd name="connsiteX134" fmla="*/ 3094552 w 8009775"/>
              <a:gd name="connsiteY134" fmla="*/ 1617981 h 6858001"/>
              <a:gd name="connsiteX135" fmla="*/ 3100758 w 8009775"/>
              <a:gd name="connsiteY135" fmla="*/ 1618299 h 6858001"/>
              <a:gd name="connsiteX136" fmla="*/ 3106670 w 8009775"/>
              <a:gd name="connsiteY136" fmla="*/ 1618934 h 6858001"/>
              <a:gd name="connsiteX137" fmla="*/ 3112285 w 8009775"/>
              <a:gd name="connsiteY137" fmla="*/ 1620204 h 6858001"/>
              <a:gd name="connsiteX138" fmla="*/ 3117901 w 8009775"/>
              <a:gd name="connsiteY138" fmla="*/ 1621155 h 6858001"/>
              <a:gd name="connsiteX139" fmla="*/ 3123812 w 8009775"/>
              <a:gd name="connsiteY139" fmla="*/ 1623061 h 6858001"/>
              <a:gd name="connsiteX140" fmla="*/ 3129428 w 8009775"/>
              <a:gd name="connsiteY140" fmla="*/ 1624649 h 6858001"/>
              <a:gd name="connsiteX141" fmla="*/ 3135339 w 8009775"/>
              <a:gd name="connsiteY141" fmla="*/ 1626871 h 6858001"/>
              <a:gd name="connsiteX142" fmla="*/ 3140660 w 8009775"/>
              <a:gd name="connsiteY142" fmla="*/ 1629094 h 6858001"/>
              <a:gd name="connsiteX143" fmla="*/ 3145980 w 8009775"/>
              <a:gd name="connsiteY143" fmla="*/ 1631950 h 6858001"/>
              <a:gd name="connsiteX144" fmla="*/ 3151300 w 8009775"/>
              <a:gd name="connsiteY144" fmla="*/ 1634809 h 6858001"/>
              <a:gd name="connsiteX145" fmla="*/ 3156324 w 8009775"/>
              <a:gd name="connsiteY145" fmla="*/ 1637984 h 6858001"/>
              <a:gd name="connsiteX146" fmla="*/ 3161349 w 8009775"/>
              <a:gd name="connsiteY146" fmla="*/ 1641794 h 6858001"/>
              <a:gd name="connsiteX147" fmla="*/ 3166374 w 8009775"/>
              <a:gd name="connsiteY147" fmla="*/ 1645603 h 6858001"/>
              <a:gd name="connsiteX148" fmla="*/ 3171102 w 8009775"/>
              <a:gd name="connsiteY148" fmla="*/ 1649414 h 6858001"/>
              <a:gd name="connsiteX149" fmla="*/ 3175832 w 8009775"/>
              <a:gd name="connsiteY149" fmla="*/ 1653859 h 6858001"/>
              <a:gd name="connsiteX150" fmla="*/ 3844692 w 8009775"/>
              <a:gd name="connsiteY150" fmla="*/ 2322830 h 6858001"/>
              <a:gd name="connsiteX151" fmla="*/ 3849421 w 8009775"/>
              <a:gd name="connsiteY151" fmla="*/ 2326958 h 6858001"/>
              <a:gd name="connsiteX152" fmla="*/ 3854150 w 8009775"/>
              <a:gd name="connsiteY152" fmla="*/ 2331085 h 6858001"/>
              <a:gd name="connsiteX153" fmla="*/ 3859175 w 8009775"/>
              <a:gd name="connsiteY153" fmla="*/ 2334895 h 6858001"/>
              <a:gd name="connsiteX154" fmla="*/ 3864199 w 8009775"/>
              <a:gd name="connsiteY154" fmla="*/ 2338705 h 6858001"/>
              <a:gd name="connsiteX155" fmla="*/ 3869224 w 8009775"/>
              <a:gd name="connsiteY155" fmla="*/ 2341880 h 6858001"/>
              <a:gd name="connsiteX156" fmla="*/ 3874544 w 8009775"/>
              <a:gd name="connsiteY156" fmla="*/ 2344738 h 6858001"/>
              <a:gd name="connsiteX157" fmla="*/ 3879864 w 8009775"/>
              <a:gd name="connsiteY157" fmla="*/ 2347595 h 6858001"/>
              <a:gd name="connsiteX158" fmla="*/ 3885775 w 8009775"/>
              <a:gd name="connsiteY158" fmla="*/ 2349818 h 6858001"/>
              <a:gd name="connsiteX159" fmla="*/ 3891096 w 8009775"/>
              <a:gd name="connsiteY159" fmla="*/ 2351723 h 6858001"/>
              <a:gd name="connsiteX160" fmla="*/ 3896711 w 8009775"/>
              <a:gd name="connsiteY160" fmla="*/ 2353628 h 6858001"/>
              <a:gd name="connsiteX161" fmla="*/ 3902623 w 8009775"/>
              <a:gd name="connsiteY161" fmla="*/ 2355534 h 6858001"/>
              <a:gd name="connsiteX162" fmla="*/ 3908238 w 8009775"/>
              <a:gd name="connsiteY162" fmla="*/ 2356485 h 6858001"/>
              <a:gd name="connsiteX163" fmla="*/ 3914150 w 8009775"/>
              <a:gd name="connsiteY163" fmla="*/ 2357755 h 6858001"/>
              <a:gd name="connsiteX164" fmla="*/ 3920061 w 8009775"/>
              <a:gd name="connsiteY164" fmla="*/ 2358391 h 6858001"/>
              <a:gd name="connsiteX165" fmla="*/ 3925972 w 8009775"/>
              <a:gd name="connsiteY165" fmla="*/ 2358708 h 6858001"/>
              <a:gd name="connsiteX166" fmla="*/ 3931883 w 8009775"/>
              <a:gd name="connsiteY166" fmla="*/ 2358708 h 6858001"/>
              <a:gd name="connsiteX167" fmla="*/ 3937795 w 8009775"/>
              <a:gd name="connsiteY167" fmla="*/ 2358708 h 6858001"/>
              <a:gd name="connsiteX168" fmla="*/ 3943706 w 8009775"/>
              <a:gd name="connsiteY168" fmla="*/ 2358391 h 6858001"/>
              <a:gd name="connsiteX169" fmla="*/ 3949617 w 8009775"/>
              <a:gd name="connsiteY169" fmla="*/ 2357755 h 6858001"/>
              <a:gd name="connsiteX170" fmla="*/ 3955233 w 8009775"/>
              <a:gd name="connsiteY170" fmla="*/ 2356485 h 6858001"/>
              <a:gd name="connsiteX171" fmla="*/ 3961144 w 8009775"/>
              <a:gd name="connsiteY171" fmla="*/ 2355534 h 6858001"/>
              <a:gd name="connsiteX172" fmla="*/ 3966760 w 8009775"/>
              <a:gd name="connsiteY172" fmla="*/ 2353628 h 6858001"/>
              <a:gd name="connsiteX173" fmla="*/ 3972671 w 8009775"/>
              <a:gd name="connsiteY173" fmla="*/ 2351723 h 6858001"/>
              <a:gd name="connsiteX174" fmla="*/ 3978287 w 8009775"/>
              <a:gd name="connsiteY174" fmla="*/ 2349818 h 6858001"/>
              <a:gd name="connsiteX175" fmla="*/ 3983607 w 8009775"/>
              <a:gd name="connsiteY175" fmla="*/ 2347595 h 6858001"/>
              <a:gd name="connsiteX176" fmla="*/ 3989223 w 8009775"/>
              <a:gd name="connsiteY176" fmla="*/ 2344738 h 6858001"/>
              <a:gd name="connsiteX177" fmla="*/ 3994543 w 8009775"/>
              <a:gd name="connsiteY177" fmla="*/ 2341880 h 6858001"/>
              <a:gd name="connsiteX178" fmla="*/ 3999567 w 8009775"/>
              <a:gd name="connsiteY178" fmla="*/ 2338705 h 6858001"/>
              <a:gd name="connsiteX179" fmla="*/ 4004888 w 8009775"/>
              <a:gd name="connsiteY179" fmla="*/ 2334895 h 6858001"/>
              <a:gd name="connsiteX180" fmla="*/ 4009617 w 8009775"/>
              <a:gd name="connsiteY180" fmla="*/ 2331085 h 6858001"/>
              <a:gd name="connsiteX181" fmla="*/ 4014346 w 8009775"/>
              <a:gd name="connsiteY181" fmla="*/ 2326958 h 6858001"/>
              <a:gd name="connsiteX182" fmla="*/ 4018779 w 8009775"/>
              <a:gd name="connsiteY182" fmla="*/ 2322830 h 6858001"/>
              <a:gd name="connsiteX183" fmla="*/ 4023213 w 8009775"/>
              <a:gd name="connsiteY183" fmla="*/ 2318068 h 6858001"/>
              <a:gd name="connsiteX184" fmla="*/ 4027646 w 8009775"/>
              <a:gd name="connsiteY184" fmla="*/ 2313306 h 6858001"/>
              <a:gd name="connsiteX185" fmla="*/ 4031193 w 8009775"/>
              <a:gd name="connsiteY185" fmla="*/ 2308544 h 6858001"/>
              <a:gd name="connsiteX186" fmla="*/ 4034740 w 8009775"/>
              <a:gd name="connsiteY186" fmla="*/ 2303463 h 6858001"/>
              <a:gd name="connsiteX187" fmla="*/ 4037991 w 8009775"/>
              <a:gd name="connsiteY187" fmla="*/ 2298384 h 6858001"/>
              <a:gd name="connsiteX188" fmla="*/ 4040946 w 8009775"/>
              <a:gd name="connsiteY188" fmla="*/ 2292985 h 6858001"/>
              <a:gd name="connsiteX189" fmla="*/ 4043606 w 8009775"/>
              <a:gd name="connsiteY189" fmla="*/ 2287588 h 6858001"/>
              <a:gd name="connsiteX190" fmla="*/ 4046267 w 8009775"/>
              <a:gd name="connsiteY190" fmla="*/ 2281873 h 6858001"/>
              <a:gd name="connsiteX191" fmla="*/ 4048040 w 8009775"/>
              <a:gd name="connsiteY191" fmla="*/ 2276476 h 6858001"/>
              <a:gd name="connsiteX192" fmla="*/ 4050109 w 8009775"/>
              <a:gd name="connsiteY192" fmla="*/ 2270761 h 6858001"/>
              <a:gd name="connsiteX193" fmla="*/ 4051587 w 8009775"/>
              <a:gd name="connsiteY193" fmla="*/ 2265046 h 6858001"/>
              <a:gd name="connsiteX194" fmla="*/ 4052769 w 8009775"/>
              <a:gd name="connsiteY194" fmla="*/ 2259331 h 6858001"/>
              <a:gd name="connsiteX195" fmla="*/ 4053656 w 8009775"/>
              <a:gd name="connsiteY195" fmla="*/ 2253298 h 6858001"/>
              <a:gd name="connsiteX196" fmla="*/ 4054542 w 8009775"/>
              <a:gd name="connsiteY196" fmla="*/ 2247266 h 6858001"/>
              <a:gd name="connsiteX197" fmla="*/ 4054838 w 8009775"/>
              <a:gd name="connsiteY197" fmla="*/ 2241551 h 6858001"/>
              <a:gd name="connsiteX198" fmla="*/ 4055133 w 8009775"/>
              <a:gd name="connsiteY198" fmla="*/ 2235519 h 6858001"/>
              <a:gd name="connsiteX199" fmla="*/ 4054838 w 8009775"/>
              <a:gd name="connsiteY199" fmla="*/ 2229804 h 6858001"/>
              <a:gd name="connsiteX200" fmla="*/ 4054542 w 8009775"/>
              <a:gd name="connsiteY200" fmla="*/ 2223770 h 6858001"/>
              <a:gd name="connsiteX201" fmla="*/ 4053656 w 8009775"/>
              <a:gd name="connsiteY201" fmla="*/ 2217739 h 6858001"/>
              <a:gd name="connsiteX202" fmla="*/ 4052769 w 8009775"/>
              <a:gd name="connsiteY202" fmla="*/ 2212024 h 6858001"/>
              <a:gd name="connsiteX203" fmla="*/ 4051587 w 8009775"/>
              <a:gd name="connsiteY203" fmla="*/ 2206309 h 6858001"/>
              <a:gd name="connsiteX204" fmla="*/ 4050109 w 8009775"/>
              <a:gd name="connsiteY204" fmla="*/ 2200593 h 6858001"/>
              <a:gd name="connsiteX205" fmla="*/ 4048040 w 8009775"/>
              <a:gd name="connsiteY205" fmla="*/ 2194878 h 6858001"/>
              <a:gd name="connsiteX206" fmla="*/ 4046267 w 8009775"/>
              <a:gd name="connsiteY206" fmla="*/ 2189163 h 6858001"/>
              <a:gd name="connsiteX207" fmla="*/ 4043606 w 8009775"/>
              <a:gd name="connsiteY207" fmla="*/ 2183765 h 6858001"/>
              <a:gd name="connsiteX208" fmla="*/ 4040946 w 8009775"/>
              <a:gd name="connsiteY208" fmla="*/ 2178368 h 6858001"/>
              <a:gd name="connsiteX209" fmla="*/ 4037991 w 8009775"/>
              <a:gd name="connsiteY209" fmla="*/ 2172970 h 6858001"/>
              <a:gd name="connsiteX210" fmla="*/ 4034740 w 8009775"/>
              <a:gd name="connsiteY210" fmla="*/ 2167890 h 6858001"/>
              <a:gd name="connsiteX211" fmla="*/ 4031193 w 8009775"/>
              <a:gd name="connsiteY211" fmla="*/ 2162494 h 6858001"/>
              <a:gd name="connsiteX212" fmla="*/ 4027646 w 8009775"/>
              <a:gd name="connsiteY212" fmla="*/ 2157730 h 6858001"/>
              <a:gd name="connsiteX213" fmla="*/ 4023213 w 8009775"/>
              <a:gd name="connsiteY213" fmla="*/ 2153285 h 6858001"/>
              <a:gd name="connsiteX214" fmla="*/ 4018779 w 8009775"/>
              <a:gd name="connsiteY214" fmla="*/ 2148523 h 6858001"/>
              <a:gd name="connsiteX215" fmla="*/ 3632182 w 8009775"/>
              <a:gd name="connsiteY215" fmla="*/ 1761490 h 6858001"/>
              <a:gd name="connsiteX216" fmla="*/ 3435928 w 8009775"/>
              <a:gd name="connsiteY216" fmla="*/ 1565276 h 6858001"/>
              <a:gd name="connsiteX217" fmla="*/ 3431198 w 8009775"/>
              <a:gd name="connsiteY217" fmla="*/ 1560514 h 6858001"/>
              <a:gd name="connsiteX218" fmla="*/ 3427356 w 8009775"/>
              <a:gd name="connsiteY218" fmla="*/ 1555751 h 6858001"/>
              <a:gd name="connsiteX219" fmla="*/ 3423218 w 8009775"/>
              <a:gd name="connsiteY219" fmla="*/ 1550671 h 6858001"/>
              <a:gd name="connsiteX220" fmla="*/ 3420262 w 8009775"/>
              <a:gd name="connsiteY220" fmla="*/ 1545909 h 6858001"/>
              <a:gd name="connsiteX221" fmla="*/ 3417012 w 8009775"/>
              <a:gd name="connsiteY221" fmla="*/ 1540829 h 6858001"/>
              <a:gd name="connsiteX222" fmla="*/ 3413760 w 8009775"/>
              <a:gd name="connsiteY222" fmla="*/ 1535430 h 6858001"/>
              <a:gd name="connsiteX223" fmla="*/ 3411100 w 8009775"/>
              <a:gd name="connsiteY223" fmla="*/ 1530034 h 6858001"/>
              <a:gd name="connsiteX224" fmla="*/ 3408736 w 8009775"/>
              <a:gd name="connsiteY224" fmla="*/ 1524635 h 6858001"/>
              <a:gd name="connsiteX225" fmla="*/ 3406371 w 8009775"/>
              <a:gd name="connsiteY225" fmla="*/ 1518920 h 6858001"/>
              <a:gd name="connsiteX226" fmla="*/ 3404598 w 8009775"/>
              <a:gd name="connsiteY226" fmla="*/ 1513205 h 6858001"/>
              <a:gd name="connsiteX227" fmla="*/ 3403120 w 8009775"/>
              <a:gd name="connsiteY227" fmla="*/ 1507174 h 6858001"/>
              <a:gd name="connsiteX228" fmla="*/ 3401938 w 8009775"/>
              <a:gd name="connsiteY228" fmla="*/ 1501459 h 6858001"/>
              <a:gd name="connsiteX229" fmla="*/ 3401051 w 8009775"/>
              <a:gd name="connsiteY229" fmla="*/ 1495744 h 6858001"/>
              <a:gd name="connsiteX230" fmla="*/ 3400460 w 8009775"/>
              <a:gd name="connsiteY230" fmla="*/ 1489710 h 6858001"/>
              <a:gd name="connsiteX231" fmla="*/ 3399869 w 8009775"/>
              <a:gd name="connsiteY231" fmla="*/ 1483995 h 6858001"/>
              <a:gd name="connsiteX232" fmla="*/ 3399573 w 8009775"/>
              <a:gd name="connsiteY232" fmla="*/ 1478281 h 6858001"/>
              <a:gd name="connsiteX233" fmla="*/ 3399869 w 8009775"/>
              <a:gd name="connsiteY233" fmla="*/ 1472249 h 6858001"/>
              <a:gd name="connsiteX234" fmla="*/ 3400460 w 8009775"/>
              <a:gd name="connsiteY234" fmla="*/ 1466215 h 6858001"/>
              <a:gd name="connsiteX235" fmla="*/ 3401051 w 8009775"/>
              <a:gd name="connsiteY235" fmla="*/ 1460183 h 6858001"/>
              <a:gd name="connsiteX236" fmla="*/ 3401938 w 8009775"/>
              <a:gd name="connsiteY236" fmla="*/ 1454468 h 6858001"/>
              <a:gd name="connsiteX237" fmla="*/ 3403120 w 8009775"/>
              <a:gd name="connsiteY237" fmla="*/ 1448754 h 6858001"/>
              <a:gd name="connsiteX238" fmla="*/ 3404598 w 8009775"/>
              <a:gd name="connsiteY238" fmla="*/ 1443039 h 6858001"/>
              <a:gd name="connsiteX239" fmla="*/ 3406371 w 8009775"/>
              <a:gd name="connsiteY239" fmla="*/ 1437324 h 6858001"/>
              <a:gd name="connsiteX240" fmla="*/ 3408736 w 8009775"/>
              <a:gd name="connsiteY240" fmla="*/ 1431609 h 6858001"/>
              <a:gd name="connsiteX241" fmla="*/ 3411100 w 8009775"/>
              <a:gd name="connsiteY241" fmla="*/ 1426211 h 6858001"/>
              <a:gd name="connsiteX242" fmla="*/ 3413760 w 8009775"/>
              <a:gd name="connsiteY242" fmla="*/ 1420814 h 6858001"/>
              <a:gd name="connsiteX243" fmla="*/ 3417012 w 8009775"/>
              <a:gd name="connsiteY243" fmla="*/ 1415416 h 6858001"/>
              <a:gd name="connsiteX244" fmla="*/ 3420262 w 8009775"/>
              <a:gd name="connsiteY244" fmla="*/ 1410336 h 6858001"/>
              <a:gd name="connsiteX245" fmla="*/ 3423218 w 8009775"/>
              <a:gd name="connsiteY245" fmla="*/ 1405256 h 6858001"/>
              <a:gd name="connsiteX246" fmla="*/ 3427356 w 8009775"/>
              <a:gd name="connsiteY246" fmla="*/ 1400175 h 6858001"/>
              <a:gd name="connsiteX247" fmla="*/ 3431198 w 8009775"/>
              <a:gd name="connsiteY247" fmla="*/ 1395731 h 6858001"/>
              <a:gd name="connsiteX248" fmla="*/ 3435928 w 8009775"/>
              <a:gd name="connsiteY248" fmla="*/ 1390969 h 6858001"/>
              <a:gd name="connsiteX249" fmla="*/ 3440361 w 8009775"/>
              <a:gd name="connsiteY249" fmla="*/ 1386524 h 6858001"/>
              <a:gd name="connsiteX250" fmla="*/ 3445386 w 8009775"/>
              <a:gd name="connsiteY250" fmla="*/ 1382396 h 6858001"/>
              <a:gd name="connsiteX251" fmla="*/ 3449819 w 8009775"/>
              <a:gd name="connsiteY251" fmla="*/ 1378585 h 6858001"/>
              <a:gd name="connsiteX252" fmla="*/ 3454844 w 8009775"/>
              <a:gd name="connsiteY252" fmla="*/ 1375094 h 6858001"/>
              <a:gd name="connsiteX253" fmla="*/ 3460459 w 8009775"/>
              <a:gd name="connsiteY253" fmla="*/ 1371919 h 6858001"/>
              <a:gd name="connsiteX254" fmla="*/ 3465780 w 8009775"/>
              <a:gd name="connsiteY254" fmla="*/ 1369061 h 6858001"/>
              <a:gd name="connsiteX255" fmla="*/ 3471100 w 8009775"/>
              <a:gd name="connsiteY255" fmla="*/ 1366204 h 6858001"/>
              <a:gd name="connsiteX256" fmla="*/ 3476420 w 8009775"/>
              <a:gd name="connsiteY256" fmla="*/ 1363980 h 6858001"/>
              <a:gd name="connsiteX257" fmla="*/ 3482331 w 8009775"/>
              <a:gd name="connsiteY257" fmla="*/ 1361759 h 6858001"/>
              <a:gd name="connsiteX258" fmla="*/ 3487947 w 8009775"/>
              <a:gd name="connsiteY258" fmla="*/ 1360170 h 6858001"/>
              <a:gd name="connsiteX259" fmla="*/ 3493858 w 8009775"/>
              <a:gd name="connsiteY259" fmla="*/ 1358265 h 6858001"/>
              <a:gd name="connsiteX260" fmla="*/ 3499474 w 8009775"/>
              <a:gd name="connsiteY260" fmla="*/ 1357314 h 6858001"/>
              <a:gd name="connsiteX261" fmla="*/ 3505385 w 8009775"/>
              <a:gd name="connsiteY261" fmla="*/ 1356043 h 6858001"/>
              <a:gd name="connsiteX262" fmla="*/ 3511001 w 8009775"/>
              <a:gd name="connsiteY262" fmla="*/ 1355409 h 6858001"/>
              <a:gd name="connsiteX263" fmla="*/ 3517208 w 8009775"/>
              <a:gd name="connsiteY263" fmla="*/ 1355090 h 6858001"/>
              <a:gd name="connsiteX264" fmla="*/ 3522823 w 8009775"/>
              <a:gd name="connsiteY264" fmla="*/ 1354773 h 6858001"/>
              <a:gd name="connsiteX265" fmla="*/ 3529030 w 8009775"/>
              <a:gd name="connsiteY265" fmla="*/ 1355090 h 6858001"/>
              <a:gd name="connsiteX266" fmla="*/ 3534646 w 8009775"/>
              <a:gd name="connsiteY266" fmla="*/ 1355409 h 6858001"/>
              <a:gd name="connsiteX267" fmla="*/ 3540557 w 8009775"/>
              <a:gd name="connsiteY267" fmla="*/ 1356043 h 6858001"/>
              <a:gd name="connsiteX268" fmla="*/ 3546468 w 8009775"/>
              <a:gd name="connsiteY268" fmla="*/ 1357314 h 6858001"/>
              <a:gd name="connsiteX269" fmla="*/ 3552380 w 8009775"/>
              <a:gd name="connsiteY269" fmla="*/ 1358265 h 6858001"/>
              <a:gd name="connsiteX270" fmla="*/ 3557995 w 8009775"/>
              <a:gd name="connsiteY270" fmla="*/ 1360170 h 6858001"/>
              <a:gd name="connsiteX271" fmla="*/ 3563906 w 8009775"/>
              <a:gd name="connsiteY271" fmla="*/ 1361759 h 6858001"/>
              <a:gd name="connsiteX272" fmla="*/ 3569227 w 8009775"/>
              <a:gd name="connsiteY272" fmla="*/ 1363980 h 6858001"/>
              <a:gd name="connsiteX273" fmla="*/ 3574842 w 8009775"/>
              <a:gd name="connsiteY273" fmla="*/ 1366204 h 6858001"/>
              <a:gd name="connsiteX274" fmla="*/ 3580458 w 8009775"/>
              <a:gd name="connsiteY274" fmla="*/ 1369061 h 6858001"/>
              <a:gd name="connsiteX275" fmla="*/ 3585778 w 8009775"/>
              <a:gd name="connsiteY275" fmla="*/ 1371919 h 6858001"/>
              <a:gd name="connsiteX276" fmla="*/ 3590803 w 8009775"/>
              <a:gd name="connsiteY276" fmla="*/ 1375094 h 6858001"/>
              <a:gd name="connsiteX277" fmla="*/ 3595828 w 8009775"/>
              <a:gd name="connsiteY277" fmla="*/ 1378585 h 6858001"/>
              <a:gd name="connsiteX278" fmla="*/ 3600852 w 8009775"/>
              <a:gd name="connsiteY278" fmla="*/ 1382396 h 6858001"/>
              <a:gd name="connsiteX279" fmla="*/ 3605581 w 8009775"/>
              <a:gd name="connsiteY279" fmla="*/ 1386524 h 6858001"/>
              <a:gd name="connsiteX280" fmla="*/ 3610014 w 8009775"/>
              <a:gd name="connsiteY280" fmla="*/ 1390969 h 6858001"/>
              <a:gd name="connsiteX281" fmla="*/ 3817500 w 8009775"/>
              <a:gd name="connsiteY281" fmla="*/ 1598296 h 6858001"/>
              <a:gd name="connsiteX282" fmla="*/ 3821934 w 8009775"/>
              <a:gd name="connsiteY282" fmla="*/ 1602423 h 6858001"/>
              <a:gd name="connsiteX283" fmla="*/ 3826663 w 8009775"/>
              <a:gd name="connsiteY283" fmla="*/ 1606869 h 6858001"/>
              <a:gd name="connsiteX284" fmla="*/ 3831687 w 8009775"/>
              <a:gd name="connsiteY284" fmla="*/ 1610361 h 6858001"/>
              <a:gd name="connsiteX285" fmla="*/ 3836712 w 8009775"/>
              <a:gd name="connsiteY285" fmla="*/ 1613854 h 6858001"/>
              <a:gd name="connsiteX286" fmla="*/ 3841736 w 8009775"/>
              <a:gd name="connsiteY286" fmla="*/ 1617345 h 6858001"/>
              <a:gd name="connsiteX287" fmla="*/ 3847352 w 8009775"/>
              <a:gd name="connsiteY287" fmla="*/ 1620204 h 6858001"/>
              <a:gd name="connsiteX288" fmla="*/ 3852672 w 8009775"/>
              <a:gd name="connsiteY288" fmla="*/ 1623061 h 6858001"/>
              <a:gd name="connsiteX289" fmla="*/ 3857992 w 8009775"/>
              <a:gd name="connsiteY289" fmla="*/ 1625283 h 6858001"/>
              <a:gd name="connsiteX290" fmla="*/ 3863608 w 8009775"/>
              <a:gd name="connsiteY290" fmla="*/ 1627189 h 6858001"/>
              <a:gd name="connsiteX291" fmla="*/ 3869519 w 8009775"/>
              <a:gd name="connsiteY291" fmla="*/ 1629094 h 6858001"/>
              <a:gd name="connsiteX292" fmla="*/ 3875135 w 8009775"/>
              <a:gd name="connsiteY292" fmla="*/ 1630998 h 6858001"/>
              <a:gd name="connsiteX293" fmla="*/ 3881046 w 8009775"/>
              <a:gd name="connsiteY293" fmla="*/ 1631950 h 6858001"/>
              <a:gd name="connsiteX294" fmla="*/ 3886662 w 8009775"/>
              <a:gd name="connsiteY294" fmla="*/ 1632904 h 6858001"/>
              <a:gd name="connsiteX295" fmla="*/ 3892869 w 8009775"/>
              <a:gd name="connsiteY295" fmla="*/ 1633856 h 6858001"/>
              <a:gd name="connsiteX296" fmla="*/ 3898485 w 8009775"/>
              <a:gd name="connsiteY296" fmla="*/ 1634174 h 6858001"/>
              <a:gd name="connsiteX297" fmla="*/ 3904396 w 8009775"/>
              <a:gd name="connsiteY297" fmla="*/ 1634174 h 6858001"/>
              <a:gd name="connsiteX298" fmla="*/ 3910307 w 8009775"/>
              <a:gd name="connsiteY298" fmla="*/ 1634174 h 6858001"/>
              <a:gd name="connsiteX299" fmla="*/ 3916219 w 8009775"/>
              <a:gd name="connsiteY299" fmla="*/ 1633856 h 6858001"/>
              <a:gd name="connsiteX300" fmla="*/ 3922425 w 8009775"/>
              <a:gd name="connsiteY300" fmla="*/ 1632904 h 6858001"/>
              <a:gd name="connsiteX301" fmla="*/ 3928041 w 8009775"/>
              <a:gd name="connsiteY301" fmla="*/ 1631950 h 6858001"/>
              <a:gd name="connsiteX302" fmla="*/ 3933657 w 8009775"/>
              <a:gd name="connsiteY302" fmla="*/ 1630998 h 6858001"/>
              <a:gd name="connsiteX303" fmla="*/ 3939568 w 8009775"/>
              <a:gd name="connsiteY303" fmla="*/ 1629094 h 6858001"/>
              <a:gd name="connsiteX304" fmla="*/ 3945184 w 8009775"/>
              <a:gd name="connsiteY304" fmla="*/ 1627189 h 6858001"/>
              <a:gd name="connsiteX305" fmla="*/ 3950799 w 8009775"/>
              <a:gd name="connsiteY305" fmla="*/ 1625283 h 6858001"/>
              <a:gd name="connsiteX306" fmla="*/ 3956415 w 8009775"/>
              <a:gd name="connsiteY306" fmla="*/ 1623061 h 6858001"/>
              <a:gd name="connsiteX307" fmla="*/ 3961735 w 8009775"/>
              <a:gd name="connsiteY307" fmla="*/ 1620204 h 6858001"/>
              <a:gd name="connsiteX308" fmla="*/ 3967055 w 8009775"/>
              <a:gd name="connsiteY308" fmla="*/ 1617345 h 6858001"/>
              <a:gd name="connsiteX309" fmla="*/ 3972376 w 8009775"/>
              <a:gd name="connsiteY309" fmla="*/ 1613854 h 6858001"/>
              <a:gd name="connsiteX310" fmla="*/ 3977400 w 8009775"/>
              <a:gd name="connsiteY310" fmla="*/ 1610361 h 6858001"/>
              <a:gd name="connsiteX311" fmla="*/ 3982425 w 8009775"/>
              <a:gd name="connsiteY311" fmla="*/ 1606869 h 6858001"/>
              <a:gd name="connsiteX312" fmla="*/ 3986858 w 8009775"/>
              <a:gd name="connsiteY312" fmla="*/ 1602423 h 6858001"/>
              <a:gd name="connsiteX313" fmla="*/ 3991587 w 8009775"/>
              <a:gd name="connsiteY313" fmla="*/ 1598296 h 6858001"/>
              <a:gd name="connsiteX314" fmla="*/ 3996021 w 8009775"/>
              <a:gd name="connsiteY314" fmla="*/ 1593533 h 6858001"/>
              <a:gd name="connsiteX315" fmla="*/ 4000159 w 8009775"/>
              <a:gd name="connsiteY315" fmla="*/ 1588771 h 6858001"/>
              <a:gd name="connsiteX316" fmla="*/ 4003705 w 8009775"/>
              <a:gd name="connsiteY316" fmla="*/ 1583691 h 6858001"/>
              <a:gd name="connsiteX317" fmla="*/ 4007548 w 8009775"/>
              <a:gd name="connsiteY317" fmla="*/ 1578928 h 6858001"/>
              <a:gd name="connsiteX318" fmla="*/ 4010799 w 8009775"/>
              <a:gd name="connsiteY318" fmla="*/ 1573849 h 6858001"/>
              <a:gd name="connsiteX319" fmla="*/ 4013459 w 8009775"/>
              <a:gd name="connsiteY319" fmla="*/ 1568451 h 6858001"/>
              <a:gd name="connsiteX320" fmla="*/ 4016415 w 8009775"/>
              <a:gd name="connsiteY320" fmla="*/ 1563054 h 6858001"/>
              <a:gd name="connsiteX321" fmla="*/ 4018484 w 8009775"/>
              <a:gd name="connsiteY321" fmla="*/ 1557339 h 6858001"/>
              <a:gd name="connsiteX322" fmla="*/ 4020848 w 8009775"/>
              <a:gd name="connsiteY322" fmla="*/ 1551941 h 6858001"/>
              <a:gd name="connsiteX323" fmla="*/ 4022621 w 8009775"/>
              <a:gd name="connsiteY323" fmla="*/ 1546226 h 6858001"/>
              <a:gd name="connsiteX324" fmla="*/ 4024395 w 8009775"/>
              <a:gd name="connsiteY324" fmla="*/ 1540511 h 6858001"/>
              <a:gd name="connsiteX325" fmla="*/ 4025282 w 8009775"/>
              <a:gd name="connsiteY325" fmla="*/ 1534478 h 6858001"/>
              <a:gd name="connsiteX326" fmla="*/ 4026464 w 8009775"/>
              <a:gd name="connsiteY326" fmla="*/ 1528763 h 6858001"/>
              <a:gd name="connsiteX327" fmla="*/ 4027055 w 8009775"/>
              <a:gd name="connsiteY327" fmla="*/ 1522731 h 6858001"/>
              <a:gd name="connsiteX328" fmla="*/ 4027646 w 8009775"/>
              <a:gd name="connsiteY328" fmla="*/ 1517016 h 6858001"/>
              <a:gd name="connsiteX329" fmla="*/ 4027646 w 8009775"/>
              <a:gd name="connsiteY329" fmla="*/ 1510984 h 6858001"/>
              <a:gd name="connsiteX330" fmla="*/ 4027646 w 8009775"/>
              <a:gd name="connsiteY330" fmla="*/ 1505268 h 6858001"/>
              <a:gd name="connsiteX331" fmla="*/ 4027055 w 8009775"/>
              <a:gd name="connsiteY331" fmla="*/ 1499553 h 6858001"/>
              <a:gd name="connsiteX332" fmla="*/ 4026464 w 8009775"/>
              <a:gd name="connsiteY332" fmla="*/ 1493204 h 6858001"/>
              <a:gd name="connsiteX333" fmla="*/ 4025282 w 8009775"/>
              <a:gd name="connsiteY333" fmla="*/ 1487489 h 6858001"/>
              <a:gd name="connsiteX334" fmla="*/ 4024395 w 8009775"/>
              <a:gd name="connsiteY334" fmla="*/ 1481773 h 6858001"/>
              <a:gd name="connsiteX335" fmla="*/ 4022621 w 8009775"/>
              <a:gd name="connsiteY335" fmla="*/ 1476058 h 6858001"/>
              <a:gd name="connsiteX336" fmla="*/ 4020848 w 8009775"/>
              <a:gd name="connsiteY336" fmla="*/ 1470343 h 6858001"/>
              <a:gd name="connsiteX337" fmla="*/ 4018484 w 8009775"/>
              <a:gd name="connsiteY337" fmla="*/ 1464629 h 6858001"/>
              <a:gd name="connsiteX338" fmla="*/ 4016415 w 8009775"/>
              <a:gd name="connsiteY338" fmla="*/ 1459231 h 6858001"/>
              <a:gd name="connsiteX339" fmla="*/ 4013459 w 8009775"/>
              <a:gd name="connsiteY339" fmla="*/ 1453834 h 6858001"/>
              <a:gd name="connsiteX340" fmla="*/ 4010799 w 8009775"/>
              <a:gd name="connsiteY340" fmla="*/ 1448436 h 6858001"/>
              <a:gd name="connsiteX341" fmla="*/ 4007548 w 8009775"/>
              <a:gd name="connsiteY341" fmla="*/ 1443356 h 6858001"/>
              <a:gd name="connsiteX342" fmla="*/ 4003705 w 8009775"/>
              <a:gd name="connsiteY342" fmla="*/ 1438275 h 6858001"/>
              <a:gd name="connsiteX343" fmla="*/ 4000159 w 8009775"/>
              <a:gd name="connsiteY343" fmla="*/ 1433195 h 6858001"/>
              <a:gd name="connsiteX344" fmla="*/ 3996021 w 8009775"/>
              <a:gd name="connsiteY344" fmla="*/ 1428751 h 6858001"/>
              <a:gd name="connsiteX345" fmla="*/ 3991587 w 8009775"/>
              <a:gd name="connsiteY345" fmla="*/ 1423988 h 6858001"/>
              <a:gd name="connsiteX346" fmla="*/ 3323022 w 8009775"/>
              <a:gd name="connsiteY346" fmla="*/ 755333 h 6858001"/>
              <a:gd name="connsiteX347" fmla="*/ 3316815 w 8009775"/>
              <a:gd name="connsiteY347" fmla="*/ 748348 h 6858001"/>
              <a:gd name="connsiteX348" fmla="*/ 3310904 w 8009775"/>
              <a:gd name="connsiteY348" fmla="*/ 741045 h 6858001"/>
              <a:gd name="connsiteX349" fmla="*/ 3305584 w 8009775"/>
              <a:gd name="connsiteY349" fmla="*/ 733108 h 6858001"/>
              <a:gd name="connsiteX350" fmla="*/ 3300855 w 8009775"/>
              <a:gd name="connsiteY350" fmla="*/ 725170 h 6858001"/>
              <a:gd name="connsiteX351" fmla="*/ 3297308 w 8009775"/>
              <a:gd name="connsiteY351" fmla="*/ 716915 h 6858001"/>
              <a:gd name="connsiteX352" fmla="*/ 3293761 w 8009775"/>
              <a:gd name="connsiteY352" fmla="*/ 708660 h 6858001"/>
              <a:gd name="connsiteX353" fmla="*/ 3291101 w 8009775"/>
              <a:gd name="connsiteY353" fmla="*/ 699770 h 6858001"/>
              <a:gd name="connsiteX354" fmla="*/ 3289328 w 8009775"/>
              <a:gd name="connsiteY354" fmla="*/ 691198 h 6858001"/>
              <a:gd name="connsiteX355" fmla="*/ 2596527 w 8009775"/>
              <a:gd name="connsiteY355" fmla="*/ 0 h 6858001"/>
              <a:gd name="connsiteX0" fmla="*/ 2596527 w 8009775"/>
              <a:gd name="connsiteY0" fmla="*/ 0 h 6858001"/>
              <a:gd name="connsiteX1" fmla="*/ 2165004 w 8009775"/>
              <a:gd name="connsiteY1" fmla="*/ 0 h 6858001"/>
              <a:gd name="connsiteX2" fmla="*/ 3265978 w 8009775"/>
              <a:gd name="connsiteY2" fmla="*/ 1101091 h 6858001"/>
              <a:gd name="connsiteX3" fmla="*/ 3270708 w 8009775"/>
              <a:gd name="connsiteY3" fmla="*/ 1105854 h 6858001"/>
              <a:gd name="connsiteX4" fmla="*/ 3274550 w 8009775"/>
              <a:gd name="connsiteY4" fmla="*/ 1110615 h 6858001"/>
              <a:gd name="connsiteX5" fmla="*/ 3278688 w 8009775"/>
              <a:gd name="connsiteY5" fmla="*/ 1115696 h 6858001"/>
              <a:gd name="connsiteX6" fmla="*/ 3282234 w 8009775"/>
              <a:gd name="connsiteY6" fmla="*/ 1120776 h 6858001"/>
              <a:gd name="connsiteX7" fmla="*/ 3285486 w 8009775"/>
              <a:gd name="connsiteY7" fmla="*/ 1126174 h 6858001"/>
              <a:gd name="connsiteX8" fmla="*/ 3288146 w 8009775"/>
              <a:gd name="connsiteY8" fmla="*/ 1131570 h 6858001"/>
              <a:gd name="connsiteX9" fmla="*/ 3291101 w 8009775"/>
              <a:gd name="connsiteY9" fmla="*/ 1136968 h 6858001"/>
              <a:gd name="connsiteX10" fmla="*/ 3293761 w 8009775"/>
              <a:gd name="connsiteY10" fmla="*/ 1142366 h 6858001"/>
              <a:gd name="connsiteX11" fmla="*/ 3295830 w 8009775"/>
              <a:gd name="connsiteY11" fmla="*/ 1148081 h 6858001"/>
              <a:gd name="connsiteX12" fmla="*/ 3297604 w 8009775"/>
              <a:gd name="connsiteY12" fmla="*/ 1153796 h 6858001"/>
              <a:gd name="connsiteX13" fmla="*/ 3299082 w 8009775"/>
              <a:gd name="connsiteY13" fmla="*/ 1159829 h 6858001"/>
              <a:gd name="connsiteX14" fmla="*/ 3300559 w 8009775"/>
              <a:gd name="connsiteY14" fmla="*/ 1165544 h 6858001"/>
              <a:gd name="connsiteX15" fmla="*/ 3301446 w 8009775"/>
              <a:gd name="connsiteY15" fmla="*/ 1171893 h 6858001"/>
              <a:gd name="connsiteX16" fmla="*/ 3302333 w 8009775"/>
              <a:gd name="connsiteY16" fmla="*/ 1177608 h 6858001"/>
              <a:gd name="connsiteX17" fmla="*/ 3302628 w 8009775"/>
              <a:gd name="connsiteY17" fmla="*/ 1183641 h 6858001"/>
              <a:gd name="connsiteX18" fmla="*/ 3302628 w 8009775"/>
              <a:gd name="connsiteY18" fmla="*/ 1189356 h 6858001"/>
              <a:gd name="connsiteX19" fmla="*/ 3302628 w 8009775"/>
              <a:gd name="connsiteY19" fmla="*/ 1195388 h 6858001"/>
              <a:gd name="connsiteX20" fmla="*/ 3302333 w 8009775"/>
              <a:gd name="connsiteY20" fmla="*/ 1201739 h 6858001"/>
              <a:gd name="connsiteX21" fmla="*/ 3301446 w 8009775"/>
              <a:gd name="connsiteY21" fmla="*/ 1207454 h 6858001"/>
              <a:gd name="connsiteX22" fmla="*/ 3300559 w 8009775"/>
              <a:gd name="connsiteY22" fmla="*/ 1213486 h 6858001"/>
              <a:gd name="connsiteX23" fmla="*/ 3299082 w 8009775"/>
              <a:gd name="connsiteY23" fmla="*/ 1219200 h 6858001"/>
              <a:gd name="connsiteX24" fmla="*/ 3297604 w 8009775"/>
              <a:gd name="connsiteY24" fmla="*/ 1225233 h 6858001"/>
              <a:gd name="connsiteX25" fmla="*/ 3295830 w 8009775"/>
              <a:gd name="connsiteY25" fmla="*/ 1230949 h 6858001"/>
              <a:gd name="connsiteX26" fmla="*/ 3293761 w 8009775"/>
              <a:gd name="connsiteY26" fmla="*/ 1236346 h 6858001"/>
              <a:gd name="connsiteX27" fmla="*/ 3291101 w 8009775"/>
              <a:gd name="connsiteY27" fmla="*/ 1242061 h 6858001"/>
              <a:gd name="connsiteX28" fmla="*/ 3288146 w 8009775"/>
              <a:gd name="connsiteY28" fmla="*/ 1247459 h 6858001"/>
              <a:gd name="connsiteX29" fmla="*/ 3285486 w 8009775"/>
              <a:gd name="connsiteY29" fmla="*/ 1252855 h 6858001"/>
              <a:gd name="connsiteX30" fmla="*/ 3282234 w 8009775"/>
              <a:gd name="connsiteY30" fmla="*/ 1258254 h 6858001"/>
              <a:gd name="connsiteX31" fmla="*/ 3278688 w 8009775"/>
              <a:gd name="connsiteY31" fmla="*/ 1263333 h 6858001"/>
              <a:gd name="connsiteX32" fmla="*/ 3274550 w 8009775"/>
              <a:gd name="connsiteY32" fmla="*/ 1268413 h 6858001"/>
              <a:gd name="connsiteX33" fmla="*/ 3270708 w 8009775"/>
              <a:gd name="connsiteY33" fmla="*/ 1273494 h 6858001"/>
              <a:gd name="connsiteX34" fmla="*/ 3265978 w 8009775"/>
              <a:gd name="connsiteY34" fmla="*/ 1278255 h 6858001"/>
              <a:gd name="connsiteX35" fmla="*/ 3261249 w 8009775"/>
              <a:gd name="connsiteY35" fmla="*/ 1282384 h 6858001"/>
              <a:gd name="connsiteX36" fmla="*/ 3256816 w 8009775"/>
              <a:gd name="connsiteY36" fmla="*/ 1286510 h 6858001"/>
              <a:gd name="connsiteX37" fmla="*/ 3251791 w 8009775"/>
              <a:gd name="connsiteY37" fmla="*/ 1290321 h 6858001"/>
              <a:gd name="connsiteX38" fmla="*/ 3246767 w 8009775"/>
              <a:gd name="connsiteY38" fmla="*/ 1293814 h 6858001"/>
              <a:gd name="connsiteX39" fmla="*/ 3241151 w 8009775"/>
              <a:gd name="connsiteY39" fmla="*/ 1297306 h 6858001"/>
              <a:gd name="connsiteX40" fmla="*/ 3235831 w 8009775"/>
              <a:gd name="connsiteY40" fmla="*/ 1300481 h 6858001"/>
              <a:gd name="connsiteX41" fmla="*/ 3230511 w 8009775"/>
              <a:gd name="connsiteY41" fmla="*/ 1303021 h 6858001"/>
              <a:gd name="connsiteX42" fmla="*/ 3224600 w 8009775"/>
              <a:gd name="connsiteY42" fmla="*/ 1305560 h 6858001"/>
              <a:gd name="connsiteX43" fmla="*/ 3218984 w 8009775"/>
              <a:gd name="connsiteY43" fmla="*/ 1307465 h 6858001"/>
              <a:gd name="connsiteX44" fmla="*/ 3213072 w 8009775"/>
              <a:gd name="connsiteY44" fmla="*/ 1309371 h 6858001"/>
              <a:gd name="connsiteX45" fmla="*/ 3207457 w 8009775"/>
              <a:gd name="connsiteY45" fmla="*/ 1311275 h 6858001"/>
              <a:gd name="connsiteX46" fmla="*/ 3201841 w 8009775"/>
              <a:gd name="connsiteY46" fmla="*/ 1312228 h 6858001"/>
              <a:gd name="connsiteX47" fmla="*/ 3195634 w 8009775"/>
              <a:gd name="connsiteY47" fmla="*/ 1313180 h 6858001"/>
              <a:gd name="connsiteX48" fmla="*/ 3189428 w 8009775"/>
              <a:gd name="connsiteY48" fmla="*/ 1314133 h 6858001"/>
              <a:gd name="connsiteX49" fmla="*/ 3183812 w 8009775"/>
              <a:gd name="connsiteY49" fmla="*/ 1314450 h 6858001"/>
              <a:gd name="connsiteX50" fmla="*/ 3177605 w 8009775"/>
              <a:gd name="connsiteY50" fmla="*/ 1314769 h 6858001"/>
              <a:gd name="connsiteX51" fmla="*/ 3171694 w 8009775"/>
              <a:gd name="connsiteY51" fmla="*/ 1314450 h 6858001"/>
              <a:gd name="connsiteX52" fmla="*/ 3165782 w 8009775"/>
              <a:gd name="connsiteY52" fmla="*/ 1314133 h 6858001"/>
              <a:gd name="connsiteX53" fmla="*/ 3159576 w 8009775"/>
              <a:gd name="connsiteY53" fmla="*/ 1313180 h 6858001"/>
              <a:gd name="connsiteX54" fmla="*/ 3153960 w 8009775"/>
              <a:gd name="connsiteY54" fmla="*/ 1312228 h 6858001"/>
              <a:gd name="connsiteX55" fmla="*/ 3147753 w 8009775"/>
              <a:gd name="connsiteY55" fmla="*/ 1311275 h 6858001"/>
              <a:gd name="connsiteX56" fmla="*/ 3142137 w 8009775"/>
              <a:gd name="connsiteY56" fmla="*/ 1309371 h 6858001"/>
              <a:gd name="connsiteX57" fmla="*/ 3136226 w 8009775"/>
              <a:gd name="connsiteY57" fmla="*/ 1307465 h 6858001"/>
              <a:gd name="connsiteX58" fmla="*/ 3130610 w 8009775"/>
              <a:gd name="connsiteY58" fmla="*/ 1305560 h 6858001"/>
              <a:gd name="connsiteX59" fmla="*/ 3124994 w 8009775"/>
              <a:gd name="connsiteY59" fmla="*/ 1303021 h 6858001"/>
              <a:gd name="connsiteX60" fmla="*/ 3119379 w 8009775"/>
              <a:gd name="connsiteY60" fmla="*/ 1300481 h 6858001"/>
              <a:gd name="connsiteX61" fmla="*/ 3114059 w 8009775"/>
              <a:gd name="connsiteY61" fmla="*/ 1297306 h 6858001"/>
              <a:gd name="connsiteX62" fmla="*/ 3109034 w 8009775"/>
              <a:gd name="connsiteY62" fmla="*/ 1293814 h 6858001"/>
              <a:gd name="connsiteX63" fmla="*/ 3103714 w 8009775"/>
              <a:gd name="connsiteY63" fmla="*/ 1290321 h 6858001"/>
              <a:gd name="connsiteX64" fmla="*/ 3098689 w 8009775"/>
              <a:gd name="connsiteY64" fmla="*/ 1286510 h 6858001"/>
              <a:gd name="connsiteX65" fmla="*/ 3093960 w 8009775"/>
              <a:gd name="connsiteY65" fmla="*/ 1282384 h 6858001"/>
              <a:gd name="connsiteX66" fmla="*/ 3089231 w 8009775"/>
              <a:gd name="connsiteY66" fmla="*/ 1278255 h 6858001"/>
              <a:gd name="connsiteX67" fmla="*/ 1811214 w 8009775"/>
              <a:gd name="connsiteY67" fmla="*/ 0 h 6858001"/>
              <a:gd name="connsiteX68" fmla="*/ 551808 w 8009775"/>
              <a:gd name="connsiteY68" fmla="*/ 0 h 6858001"/>
              <a:gd name="connsiteX69" fmla="*/ 408933 w 8009775"/>
              <a:gd name="connsiteY69" fmla="*/ 0 h 6858001"/>
              <a:gd name="connsiteX70" fmla="*/ 55488 w 8009775"/>
              <a:gd name="connsiteY70" fmla="*/ 0 h 6858001"/>
              <a:gd name="connsiteX71" fmla="*/ 0 w 8009775"/>
              <a:gd name="connsiteY71" fmla="*/ 0 h 6858001"/>
              <a:gd name="connsiteX72" fmla="*/ 0 w 8009775"/>
              <a:gd name="connsiteY72" fmla="*/ 6858000 h 6858001"/>
              <a:gd name="connsiteX73" fmla="*/ 7004395 w 8009775"/>
              <a:gd name="connsiteY73" fmla="*/ 6858000 h 6858001"/>
              <a:gd name="connsiteX74" fmla="*/ 7364776 w 8009775"/>
              <a:gd name="connsiteY74" fmla="*/ 6858001 h 6858001"/>
              <a:gd name="connsiteX75" fmla="*/ 7460026 w 8009775"/>
              <a:gd name="connsiteY75" fmla="*/ 6858001 h 6858001"/>
              <a:gd name="connsiteX76" fmla="*/ 7507651 w 8009775"/>
              <a:gd name="connsiteY76" fmla="*/ 6858001 h 6858001"/>
              <a:gd name="connsiteX77" fmla="*/ 7507650 w 8009775"/>
              <a:gd name="connsiteY77" fmla="*/ 6858000 h 6858001"/>
              <a:gd name="connsiteX78" fmla="*/ 8009775 w 8009775"/>
              <a:gd name="connsiteY78" fmla="*/ 6858000 h 6858001"/>
              <a:gd name="connsiteX79" fmla="*/ 3996316 w 8009775"/>
              <a:gd name="connsiteY79" fmla="*/ 2818448 h 6858001"/>
              <a:gd name="connsiteX80" fmla="*/ 3980947 w 8009775"/>
              <a:gd name="connsiteY80" fmla="*/ 2804795 h 6858001"/>
              <a:gd name="connsiteX81" fmla="*/ 3965282 w 8009775"/>
              <a:gd name="connsiteY81" fmla="*/ 2791144 h 6858001"/>
              <a:gd name="connsiteX82" fmla="*/ 3950799 w 8009775"/>
              <a:gd name="connsiteY82" fmla="*/ 2776856 h 6858001"/>
              <a:gd name="connsiteX83" fmla="*/ 3936021 w 8009775"/>
              <a:gd name="connsiteY83" fmla="*/ 2762568 h 6858001"/>
              <a:gd name="connsiteX84" fmla="*/ 3001744 w 8009775"/>
              <a:gd name="connsiteY84" fmla="*/ 1828166 h 6858001"/>
              <a:gd name="connsiteX85" fmla="*/ 2997311 w 8009775"/>
              <a:gd name="connsiteY85" fmla="*/ 1823404 h 6858001"/>
              <a:gd name="connsiteX86" fmla="*/ 2992878 w 8009775"/>
              <a:gd name="connsiteY86" fmla="*/ 1818640 h 6858001"/>
              <a:gd name="connsiteX87" fmla="*/ 2989331 w 8009775"/>
              <a:gd name="connsiteY87" fmla="*/ 1814195 h 6858001"/>
              <a:gd name="connsiteX88" fmla="*/ 2985784 w 8009775"/>
              <a:gd name="connsiteY88" fmla="*/ 1808799 h 6858001"/>
              <a:gd name="connsiteX89" fmla="*/ 2982533 w 8009775"/>
              <a:gd name="connsiteY89" fmla="*/ 1803718 h 6858001"/>
              <a:gd name="connsiteX90" fmla="*/ 2979873 w 8009775"/>
              <a:gd name="connsiteY90" fmla="*/ 1798321 h 6858001"/>
              <a:gd name="connsiteX91" fmla="*/ 2976917 w 8009775"/>
              <a:gd name="connsiteY91" fmla="*/ 1792924 h 6858001"/>
              <a:gd name="connsiteX92" fmla="*/ 2974552 w 8009775"/>
              <a:gd name="connsiteY92" fmla="*/ 1787526 h 6858001"/>
              <a:gd name="connsiteX93" fmla="*/ 2972484 w 8009775"/>
              <a:gd name="connsiteY93" fmla="*/ 1781811 h 6858001"/>
              <a:gd name="connsiteX94" fmla="*/ 2970710 w 8009775"/>
              <a:gd name="connsiteY94" fmla="*/ 1776095 h 6858001"/>
              <a:gd name="connsiteX95" fmla="*/ 2968937 w 8009775"/>
              <a:gd name="connsiteY95" fmla="*/ 1770380 h 6858001"/>
              <a:gd name="connsiteX96" fmla="*/ 2967755 w 8009775"/>
              <a:gd name="connsiteY96" fmla="*/ 1764665 h 6858001"/>
              <a:gd name="connsiteX97" fmla="*/ 2966868 w 8009775"/>
              <a:gd name="connsiteY97" fmla="*/ 1758634 h 6858001"/>
              <a:gd name="connsiteX98" fmla="*/ 2965981 w 8009775"/>
              <a:gd name="connsiteY98" fmla="*/ 1752919 h 6858001"/>
              <a:gd name="connsiteX99" fmla="*/ 2965686 w 8009775"/>
              <a:gd name="connsiteY99" fmla="*/ 1746885 h 6858001"/>
              <a:gd name="connsiteX100" fmla="*/ 2965686 w 8009775"/>
              <a:gd name="connsiteY100" fmla="*/ 1741170 h 6858001"/>
              <a:gd name="connsiteX101" fmla="*/ 2965686 w 8009775"/>
              <a:gd name="connsiteY101" fmla="*/ 1735139 h 6858001"/>
              <a:gd name="connsiteX102" fmla="*/ 2965981 w 8009775"/>
              <a:gd name="connsiteY102" fmla="*/ 1729424 h 6858001"/>
              <a:gd name="connsiteX103" fmla="*/ 2966868 w 8009775"/>
              <a:gd name="connsiteY103" fmla="*/ 1723074 h 6858001"/>
              <a:gd name="connsiteX104" fmla="*/ 2967755 w 8009775"/>
              <a:gd name="connsiteY104" fmla="*/ 1717358 h 6858001"/>
              <a:gd name="connsiteX105" fmla="*/ 2968937 w 8009775"/>
              <a:gd name="connsiteY105" fmla="*/ 1711643 h 6858001"/>
              <a:gd name="connsiteX106" fmla="*/ 2970710 w 8009775"/>
              <a:gd name="connsiteY106" fmla="*/ 1705929 h 6858001"/>
              <a:gd name="connsiteX107" fmla="*/ 2972484 w 8009775"/>
              <a:gd name="connsiteY107" fmla="*/ 1700214 h 6858001"/>
              <a:gd name="connsiteX108" fmla="*/ 2974552 w 8009775"/>
              <a:gd name="connsiteY108" fmla="*/ 1694816 h 6858001"/>
              <a:gd name="connsiteX109" fmla="*/ 2976917 w 8009775"/>
              <a:gd name="connsiteY109" fmla="*/ 1689101 h 6858001"/>
              <a:gd name="connsiteX110" fmla="*/ 2979873 w 8009775"/>
              <a:gd name="connsiteY110" fmla="*/ 1683703 h 6858001"/>
              <a:gd name="connsiteX111" fmla="*/ 2982533 w 8009775"/>
              <a:gd name="connsiteY111" fmla="*/ 1678305 h 6858001"/>
              <a:gd name="connsiteX112" fmla="*/ 2985784 w 8009775"/>
              <a:gd name="connsiteY112" fmla="*/ 1673226 h 6858001"/>
              <a:gd name="connsiteX113" fmla="*/ 2989331 w 8009775"/>
              <a:gd name="connsiteY113" fmla="*/ 1668145 h 6858001"/>
              <a:gd name="connsiteX114" fmla="*/ 2992878 w 8009775"/>
              <a:gd name="connsiteY114" fmla="*/ 1663066 h 6858001"/>
              <a:gd name="connsiteX115" fmla="*/ 2997311 w 8009775"/>
              <a:gd name="connsiteY115" fmla="*/ 1658621 h 6858001"/>
              <a:gd name="connsiteX116" fmla="*/ 3001744 w 8009775"/>
              <a:gd name="connsiteY116" fmla="*/ 1653859 h 6858001"/>
              <a:gd name="connsiteX117" fmla="*/ 3006178 w 8009775"/>
              <a:gd name="connsiteY117" fmla="*/ 1649414 h 6858001"/>
              <a:gd name="connsiteX118" fmla="*/ 3010907 w 8009775"/>
              <a:gd name="connsiteY118" fmla="*/ 1645603 h 6858001"/>
              <a:gd name="connsiteX119" fmla="*/ 3015932 w 8009775"/>
              <a:gd name="connsiteY119" fmla="*/ 1641794 h 6858001"/>
              <a:gd name="connsiteX120" fmla="*/ 3020956 w 8009775"/>
              <a:gd name="connsiteY120" fmla="*/ 1637984 h 6858001"/>
              <a:gd name="connsiteX121" fmla="*/ 3025981 w 8009775"/>
              <a:gd name="connsiteY121" fmla="*/ 1634809 h 6858001"/>
              <a:gd name="connsiteX122" fmla="*/ 3031596 w 8009775"/>
              <a:gd name="connsiteY122" fmla="*/ 1631950 h 6858001"/>
              <a:gd name="connsiteX123" fmla="*/ 3036916 w 8009775"/>
              <a:gd name="connsiteY123" fmla="*/ 1629094 h 6858001"/>
              <a:gd name="connsiteX124" fmla="*/ 3042532 w 8009775"/>
              <a:gd name="connsiteY124" fmla="*/ 1626871 h 6858001"/>
              <a:gd name="connsiteX125" fmla="*/ 3047852 w 8009775"/>
              <a:gd name="connsiteY125" fmla="*/ 1624649 h 6858001"/>
              <a:gd name="connsiteX126" fmla="*/ 3053764 w 8009775"/>
              <a:gd name="connsiteY126" fmla="*/ 1623061 h 6858001"/>
              <a:gd name="connsiteX127" fmla="*/ 3059379 w 8009775"/>
              <a:gd name="connsiteY127" fmla="*/ 1621155 h 6858001"/>
              <a:gd name="connsiteX128" fmla="*/ 3065291 w 8009775"/>
              <a:gd name="connsiteY128" fmla="*/ 1620204 h 6858001"/>
              <a:gd name="connsiteX129" fmla="*/ 3070906 w 8009775"/>
              <a:gd name="connsiteY129" fmla="*/ 1618934 h 6858001"/>
              <a:gd name="connsiteX130" fmla="*/ 3077113 w 8009775"/>
              <a:gd name="connsiteY130" fmla="*/ 1618299 h 6858001"/>
              <a:gd name="connsiteX131" fmla="*/ 3082729 w 8009775"/>
              <a:gd name="connsiteY131" fmla="*/ 1617981 h 6858001"/>
              <a:gd name="connsiteX132" fmla="*/ 3088936 w 8009775"/>
              <a:gd name="connsiteY132" fmla="*/ 1617981 h 6858001"/>
              <a:gd name="connsiteX133" fmla="*/ 3094552 w 8009775"/>
              <a:gd name="connsiteY133" fmla="*/ 1617981 h 6858001"/>
              <a:gd name="connsiteX134" fmla="*/ 3100758 w 8009775"/>
              <a:gd name="connsiteY134" fmla="*/ 1618299 h 6858001"/>
              <a:gd name="connsiteX135" fmla="*/ 3106670 w 8009775"/>
              <a:gd name="connsiteY135" fmla="*/ 1618934 h 6858001"/>
              <a:gd name="connsiteX136" fmla="*/ 3112285 w 8009775"/>
              <a:gd name="connsiteY136" fmla="*/ 1620204 h 6858001"/>
              <a:gd name="connsiteX137" fmla="*/ 3117901 w 8009775"/>
              <a:gd name="connsiteY137" fmla="*/ 1621155 h 6858001"/>
              <a:gd name="connsiteX138" fmla="*/ 3123812 w 8009775"/>
              <a:gd name="connsiteY138" fmla="*/ 1623061 h 6858001"/>
              <a:gd name="connsiteX139" fmla="*/ 3129428 w 8009775"/>
              <a:gd name="connsiteY139" fmla="*/ 1624649 h 6858001"/>
              <a:gd name="connsiteX140" fmla="*/ 3135339 w 8009775"/>
              <a:gd name="connsiteY140" fmla="*/ 1626871 h 6858001"/>
              <a:gd name="connsiteX141" fmla="*/ 3140660 w 8009775"/>
              <a:gd name="connsiteY141" fmla="*/ 1629094 h 6858001"/>
              <a:gd name="connsiteX142" fmla="*/ 3145980 w 8009775"/>
              <a:gd name="connsiteY142" fmla="*/ 1631950 h 6858001"/>
              <a:gd name="connsiteX143" fmla="*/ 3151300 w 8009775"/>
              <a:gd name="connsiteY143" fmla="*/ 1634809 h 6858001"/>
              <a:gd name="connsiteX144" fmla="*/ 3156324 w 8009775"/>
              <a:gd name="connsiteY144" fmla="*/ 1637984 h 6858001"/>
              <a:gd name="connsiteX145" fmla="*/ 3161349 w 8009775"/>
              <a:gd name="connsiteY145" fmla="*/ 1641794 h 6858001"/>
              <a:gd name="connsiteX146" fmla="*/ 3166374 w 8009775"/>
              <a:gd name="connsiteY146" fmla="*/ 1645603 h 6858001"/>
              <a:gd name="connsiteX147" fmla="*/ 3171102 w 8009775"/>
              <a:gd name="connsiteY147" fmla="*/ 1649414 h 6858001"/>
              <a:gd name="connsiteX148" fmla="*/ 3175832 w 8009775"/>
              <a:gd name="connsiteY148" fmla="*/ 1653859 h 6858001"/>
              <a:gd name="connsiteX149" fmla="*/ 3844692 w 8009775"/>
              <a:gd name="connsiteY149" fmla="*/ 2322830 h 6858001"/>
              <a:gd name="connsiteX150" fmla="*/ 3849421 w 8009775"/>
              <a:gd name="connsiteY150" fmla="*/ 2326958 h 6858001"/>
              <a:gd name="connsiteX151" fmla="*/ 3854150 w 8009775"/>
              <a:gd name="connsiteY151" fmla="*/ 2331085 h 6858001"/>
              <a:gd name="connsiteX152" fmla="*/ 3859175 w 8009775"/>
              <a:gd name="connsiteY152" fmla="*/ 2334895 h 6858001"/>
              <a:gd name="connsiteX153" fmla="*/ 3864199 w 8009775"/>
              <a:gd name="connsiteY153" fmla="*/ 2338705 h 6858001"/>
              <a:gd name="connsiteX154" fmla="*/ 3869224 w 8009775"/>
              <a:gd name="connsiteY154" fmla="*/ 2341880 h 6858001"/>
              <a:gd name="connsiteX155" fmla="*/ 3874544 w 8009775"/>
              <a:gd name="connsiteY155" fmla="*/ 2344738 h 6858001"/>
              <a:gd name="connsiteX156" fmla="*/ 3879864 w 8009775"/>
              <a:gd name="connsiteY156" fmla="*/ 2347595 h 6858001"/>
              <a:gd name="connsiteX157" fmla="*/ 3885775 w 8009775"/>
              <a:gd name="connsiteY157" fmla="*/ 2349818 h 6858001"/>
              <a:gd name="connsiteX158" fmla="*/ 3891096 w 8009775"/>
              <a:gd name="connsiteY158" fmla="*/ 2351723 h 6858001"/>
              <a:gd name="connsiteX159" fmla="*/ 3896711 w 8009775"/>
              <a:gd name="connsiteY159" fmla="*/ 2353628 h 6858001"/>
              <a:gd name="connsiteX160" fmla="*/ 3902623 w 8009775"/>
              <a:gd name="connsiteY160" fmla="*/ 2355534 h 6858001"/>
              <a:gd name="connsiteX161" fmla="*/ 3908238 w 8009775"/>
              <a:gd name="connsiteY161" fmla="*/ 2356485 h 6858001"/>
              <a:gd name="connsiteX162" fmla="*/ 3914150 w 8009775"/>
              <a:gd name="connsiteY162" fmla="*/ 2357755 h 6858001"/>
              <a:gd name="connsiteX163" fmla="*/ 3920061 w 8009775"/>
              <a:gd name="connsiteY163" fmla="*/ 2358391 h 6858001"/>
              <a:gd name="connsiteX164" fmla="*/ 3925972 w 8009775"/>
              <a:gd name="connsiteY164" fmla="*/ 2358708 h 6858001"/>
              <a:gd name="connsiteX165" fmla="*/ 3931883 w 8009775"/>
              <a:gd name="connsiteY165" fmla="*/ 2358708 h 6858001"/>
              <a:gd name="connsiteX166" fmla="*/ 3937795 w 8009775"/>
              <a:gd name="connsiteY166" fmla="*/ 2358708 h 6858001"/>
              <a:gd name="connsiteX167" fmla="*/ 3943706 w 8009775"/>
              <a:gd name="connsiteY167" fmla="*/ 2358391 h 6858001"/>
              <a:gd name="connsiteX168" fmla="*/ 3949617 w 8009775"/>
              <a:gd name="connsiteY168" fmla="*/ 2357755 h 6858001"/>
              <a:gd name="connsiteX169" fmla="*/ 3955233 w 8009775"/>
              <a:gd name="connsiteY169" fmla="*/ 2356485 h 6858001"/>
              <a:gd name="connsiteX170" fmla="*/ 3961144 w 8009775"/>
              <a:gd name="connsiteY170" fmla="*/ 2355534 h 6858001"/>
              <a:gd name="connsiteX171" fmla="*/ 3966760 w 8009775"/>
              <a:gd name="connsiteY171" fmla="*/ 2353628 h 6858001"/>
              <a:gd name="connsiteX172" fmla="*/ 3972671 w 8009775"/>
              <a:gd name="connsiteY172" fmla="*/ 2351723 h 6858001"/>
              <a:gd name="connsiteX173" fmla="*/ 3978287 w 8009775"/>
              <a:gd name="connsiteY173" fmla="*/ 2349818 h 6858001"/>
              <a:gd name="connsiteX174" fmla="*/ 3983607 w 8009775"/>
              <a:gd name="connsiteY174" fmla="*/ 2347595 h 6858001"/>
              <a:gd name="connsiteX175" fmla="*/ 3989223 w 8009775"/>
              <a:gd name="connsiteY175" fmla="*/ 2344738 h 6858001"/>
              <a:gd name="connsiteX176" fmla="*/ 3994543 w 8009775"/>
              <a:gd name="connsiteY176" fmla="*/ 2341880 h 6858001"/>
              <a:gd name="connsiteX177" fmla="*/ 3999567 w 8009775"/>
              <a:gd name="connsiteY177" fmla="*/ 2338705 h 6858001"/>
              <a:gd name="connsiteX178" fmla="*/ 4004888 w 8009775"/>
              <a:gd name="connsiteY178" fmla="*/ 2334895 h 6858001"/>
              <a:gd name="connsiteX179" fmla="*/ 4009617 w 8009775"/>
              <a:gd name="connsiteY179" fmla="*/ 2331085 h 6858001"/>
              <a:gd name="connsiteX180" fmla="*/ 4014346 w 8009775"/>
              <a:gd name="connsiteY180" fmla="*/ 2326958 h 6858001"/>
              <a:gd name="connsiteX181" fmla="*/ 4018779 w 8009775"/>
              <a:gd name="connsiteY181" fmla="*/ 2322830 h 6858001"/>
              <a:gd name="connsiteX182" fmla="*/ 4023213 w 8009775"/>
              <a:gd name="connsiteY182" fmla="*/ 2318068 h 6858001"/>
              <a:gd name="connsiteX183" fmla="*/ 4027646 w 8009775"/>
              <a:gd name="connsiteY183" fmla="*/ 2313306 h 6858001"/>
              <a:gd name="connsiteX184" fmla="*/ 4031193 w 8009775"/>
              <a:gd name="connsiteY184" fmla="*/ 2308544 h 6858001"/>
              <a:gd name="connsiteX185" fmla="*/ 4034740 w 8009775"/>
              <a:gd name="connsiteY185" fmla="*/ 2303463 h 6858001"/>
              <a:gd name="connsiteX186" fmla="*/ 4037991 w 8009775"/>
              <a:gd name="connsiteY186" fmla="*/ 2298384 h 6858001"/>
              <a:gd name="connsiteX187" fmla="*/ 4040946 w 8009775"/>
              <a:gd name="connsiteY187" fmla="*/ 2292985 h 6858001"/>
              <a:gd name="connsiteX188" fmla="*/ 4043606 w 8009775"/>
              <a:gd name="connsiteY188" fmla="*/ 2287588 h 6858001"/>
              <a:gd name="connsiteX189" fmla="*/ 4046267 w 8009775"/>
              <a:gd name="connsiteY189" fmla="*/ 2281873 h 6858001"/>
              <a:gd name="connsiteX190" fmla="*/ 4048040 w 8009775"/>
              <a:gd name="connsiteY190" fmla="*/ 2276476 h 6858001"/>
              <a:gd name="connsiteX191" fmla="*/ 4050109 w 8009775"/>
              <a:gd name="connsiteY191" fmla="*/ 2270761 h 6858001"/>
              <a:gd name="connsiteX192" fmla="*/ 4051587 w 8009775"/>
              <a:gd name="connsiteY192" fmla="*/ 2265046 h 6858001"/>
              <a:gd name="connsiteX193" fmla="*/ 4052769 w 8009775"/>
              <a:gd name="connsiteY193" fmla="*/ 2259331 h 6858001"/>
              <a:gd name="connsiteX194" fmla="*/ 4053656 w 8009775"/>
              <a:gd name="connsiteY194" fmla="*/ 2253298 h 6858001"/>
              <a:gd name="connsiteX195" fmla="*/ 4054542 w 8009775"/>
              <a:gd name="connsiteY195" fmla="*/ 2247266 h 6858001"/>
              <a:gd name="connsiteX196" fmla="*/ 4054838 w 8009775"/>
              <a:gd name="connsiteY196" fmla="*/ 2241551 h 6858001"/>
              <a:gd name="connsiteX197" fmla="*/ 4055133 w 8009775"/>
              <a:gd name="connsiteY197" fmla="*/ 2235519 h 6858001"/>
              <a:gd name="connsiteX198" fmla="*/ 4054838 w 8009775"/>
              <a:gd name="connsiteY198" fmla="*/ 2229804 h 6858001"/>
              <a:gd name="connsiteX199" fmla="*/ 4054542 w 8009775"/>
              <a:gd name="connsiteY199" fmla="*/ 2223770 h 6858001"/>
              <a:gd name="connsiteX200" fmla="*/ 4053656 w 8009775"/>
              <a:gd name="connsiteY200" fmla="*/ 2217739 h 6858001"/>
              <a:gd name="connsiteX201" fmla="*/ 4052769 w 8009775"/>
              <a:gd name="connsiteY201" fmla="*/ 2212024 h 6858001"/>
              <a:gd name="connsiteX202" fmla="*/ 4051587 w 8009775"/>
              <a:gd name="connsiteY202" fmla="*/ 2206309 h 6858001"/>
              <a:gd name="connsiteX203" fmla="*/ 4050109 w 8009775"/>
              <a:gd name="connsiteY203" fmla="*/ 2200593 h 6858001"/>
              <a:gd name="connsiteX204" fmla="*/ 4048040 w 8009775"/>
              <a:gd name="connsiteY204" fmla="*/ 2194878 h 6858001"/>
              <a:gd name="connsiteX205" fmla="*/ 4046267 w 8009775"/>
              <a:gd name="connsiteY205" fmla="*/ 2189163 h 6858001"/>
              <a:gd name="connsiteX206" fmla="*/ 4043606 w 8009775"/>
              <a:gd name="connsiteY206" fmla="*/ 2183765 h 6858001"/>
              <a:gd name="connsiteX207" fmla="*/ 4040946 w 8009775"/>
              <a:gd name="connsiteY207" fmla="*/ 2178368 h 6858001"/>
              <a:gd name="connsiteX208" fmla="*/ 4037991 w 8009775"/>
              <a:gd name="connsiteY208" fmla="*/ 2172970 h 6858001"/>
              <a:gd name="connsiteX209" fmla="*/ 4034740 w 8009775"/>
              <a:gd name="connsiteY209" fmla="*/ 2167890 h 6858001"/>
              <a:gd name="connsiteX210" fmla="*/ 4031193 w 8009775"/>
              <a:gd name="connsiteY210" fmla="*/ 2162494 h 6858001"/>
              <a:gd name="connsiteX211" fmla="*/ 4027646 w 8009775"/>
              <a:gd name="connsiteY211" fmla="*/ 2157730 h 6858001"/>
              <a:gd name="connsiteX212" fmla="*/ 4023213 w 8009775"/>
              <a:gd name="connsiteY212" fmla="*/ 2153285 h 6858001"/>
              <a:gd name="connsiteX213" fmla="*/ 4018779 w 8009775"/>
              <a:gd name="connsiteY213" fmla="*/ 2148523 h 6858001"/>
              <a:gd name="connsiteX214" fmla="*/ 3632182 w 8009775"/>
              <a:gd name="connsiteY214" fmla="*/ 1761490 h 6858001"/>
              <a:gd name="connsiteX215" fmla="*/ 3435928 w 8009775"/>
              <a:gd name="connsiteY215" fmla="*/ 1565276 h 6858001"/>
              <a:gd name="connsiteX216" fmla="*/ 3431198 w 8009775"/>
              <a:gd name="connsiteY216" fmla="*/ 1560514 h 6858001"/>
              <a:gd name="connsiteX217" fmla="*/ 3427356 w 8009775"/>
              <a:gd name="connsiteY217" fmla="*/ 1555751 h 6858001"/>
              <a:gd name="connsiteX218" fmla="*/ 3423218 w 8009775"/>
              <a:gd name="connsiteY218" fmla="*/ 1550671 h 6858001"/>
              <a:gd name="connsiteX219" fmla="*/ 3420262 w 8009775"/>
              <a:gd name="connsiteY219" fmla="*/ 1545909 h 6858001"/>
              <a:gd name="connsiteX220" fmla="*/ 3417012 w 8009775"/>
              <a:gd name="connsiteY220" fmla="*/ 1540829 h 6858001"/>
              <a:gd name="connsiteX221" fmla="*/ 3413760 w 8009775"/>
              <a:gd name="connsiteY221" fmla="*/ 1535430 h 6858001"/>
              <a:gd name="connsiteX222" fmla="*/ 3411100 w 8009775"/>
              <a:gd name="connsiteY222" fmla="*/ 1530034 h 6858001"/>
              <a:gd name="connsiteX223" fmla="*/ 3408736 w 8009775"/>
              <a:gd name="connsiteY223" fmla="*/ 1524635 h 6858001"/>
              <a:gd name="connsiteX224" fmla="*/ 3406371 w 8009775"/>
              <a:gd name="connsiteY224" fmla="*/ 1518920 h 6858001"/>
              <a:gd name="connsiteX225" fmla="*/ 3404598 w 8009775"/>
              <a:gd name="connsiteY225" fmla="*/ 1513205 h 6858001"/>
              <a:gd name="connsiteX226" fmla="*/ 3403120 w 8009775"/>
              <a:gd name="connsiteY226" fmla="*/ 1507174 h 6858001"/>
              <a:gd name="connsiteX227" fmla="*/ 3401938 w 8009775"/>
              <a:gd name="connsiteY227" fmla="*/ 1501459 h 6858001"/>
              <a:gd name="connsiteX228" fmla="*/ 3401051 w 8009775"/>
              <a:gd name="connsiteY228" fmla="*/ 1495744 h 6858001"/>
              <a:gd name="connsiteX229" fmla="*/ 3400460 w 8009775"/>
              <a:gd name="connsiteY229" fmla="*/ 1489710 h 6858001"/>
              <a:gd name="connsiteX230" fmla="*/ 3399869 w 8009775"/>
              <a:gd name="connsiteY230" fmla="*/ 1483995 h 6858001"/>
              <a:gd name="connsiteX231" fmla="*/ 3399573 w 8009775"/>
              <a:gd name="connsiteY231" fmla="*/ 1478281 h 6858001"/>
              <a:gd name="connsiteX232" fmla="*/ 3399869 w 8009775"/>
              <a:gd name="connsiteY232" fmla="*/ 1472249 h 6858001"/>
              <a:gd name="connsiteX233" fmla="*/ 3400460 w 8009775"/>
              <a:gd name="connsiteY233" fmla="*/ 1466215 h 6858001"/>
              <a:gd name="connsiteX234" fmla="*/ 3401051 w 8009775"/>
              <a:gd name="connsiteY234" fmla="*/ 1460183 h 6858001"/>
              <a:gd name="connsiteX235" fmla="*/ 3401938 w 8009775"/>
              <a:gd name="connsiteY235" fmla="*/ 1454468 h 6858001"/>
              <a:gd name="connsiteX236" fmla="*/ 3403120 w 8009775"/>
              <a:gd name="connsiteY236" fmla="*/ 1448754 h 6858001"/>
              <a:gd name="connsiteX237" fmla="*/ 3404598 w 8009775"/>
              <a:gd name="connsiteY237" fmla="*/ 1443039 h 6858001"/>
              <a:gd name="connsiteX238" fmla="*/ 3406371 w 8009775"/>
              <a:gd name="connsiteY238" fmla="*/ 1437324 h 6858001"/>
              <a:gd name="connsiteX239" fmla="*/ 3408736 w 8009775"/>
              <a:gd name="connsiteY239" fmla="*/ 1431609 h 6858001"/>
              <a:gd name="connsiteX240" fmla="*/ 3411100 w 8009775"/>
              <a:gd name="connsiteY240" fmla="*/ 1426211 h 6858001"/>
              <a:gd name="connsiteX241" fmla="*/ 3413760 w 8009775"/>
              <a:gd name="connsiteY241" fmla="*/ 1420814 h 6858001"/>
              <a:gd name="connsiteX242" fmla="*/ 3417012 w 8009775"/>
              <a:gd name="connsiteY242" fmla="*/ 1415416 h 6858001"/>
              <a:gd name="connsiteX243" fmla="*/ 3420262 w 8009775"/>
              <a:gd name="connsiteY243" fmla="*/ 1410336 h 6858001"/>
              <a:gd name="connsiteX244" fmla="*/ 3423218 w 8009775"/>
              <a:gd name="connsiteY244" fmla="*/ 1405256 h 6858001"/>
              <a:gd name="connsiteX245" fmla="*/ 3427356 w 8009775"/>
              <a:gd name="connsiteY245" fmla="*/ 1400175 h 6858001"/>
              <a:gd name="connsiteX246" fmla="*/ 3431198 w 8009775"/>
              <a:gd name="connsiteY246" fmla="*/ 1395731 h 6858001"/>
              <a:gd name="connsiteX247" fmla="*/ 3435928 w 8009775"/>
              <a:gd name="connsiteY247" fmla="*/ 1390969 h 6858001"/>
              <a:gd name="connsiteX248" fmla="*/ 3440361 w 8009775"/>
              <a:gd name="connsiteY248" fmla="*/ 1386524 h 6858001"/>
              <a:gd name="connsiteX249" fmla="*/ 3445386 w 8009775"/>
              <a:gd name="connsiteY249" fmla="*/ 1382396 h 6858001"/>
              <a:gd name="connsiteX250" fmla="*/ 3449819 w 8009775"/>
              <a:gd name="connsiteY250" fmla="*/ 1378585 h 6858001"/>
              <a:gd name="connsiteX251" fmla="*/ 3454844 w 8009775"/>
              <a:gd name="connsiteY251" fmla="*/ 1375094 h 6858001"/>
              <a:gd name="connsiteX252" fmla="*/ 3460459 w 8009775"/>
              <a:gd name="connsiteY252" fmla="*/ 1371919 h 6858001"/>
              <a:gd name="connsiteX253" fmla="*/ 3465780 w 8009775"/>
              <a:gd name="connsiteY253" fmla="*/ 1369061 h 6858001"/>
              <a:gd name="connsiteX254" fmla="*/ 3471100 w 8009775"/>
              <a:gd name="connsiteY254" fmla="*/ 1366204 h 6858001"/>
              <a:gd name="connsiteX255" fmla="*/ 3476420 w 8009775"/>
              <a:gd name="connsiteY255" fmla="*/ 1363980 h 6858001"/>
              <a:gd name="connsiteX256" fmla="*/ 3482331 w 8009775"/>
              <a:gd name="connsiteY256" fmla="*/ 1361759 h 6858001"/>
              <a:gd name="connsiteX257" fmla="*/ 3487947 w 8009775"/>
              <a:gd name="connsiteY257" fmla="*/ 1360170 h 6858001"/>
              <a:gd name="connsiteX258" fmla="*/ 3493858 w 8009775"/>
              <a:gd name="connsiteY258" fmla="*/ 1358265 h 6858001"/>
              <a:gd name="connsiteX259" fmla="*/ 3499474 w 8009775"/>
              <a:gd name="connsiteY259" fmla="*/ 1357314 h 6858001"/>
              <a:gd name="connsiteX260" fmla="*/ 3505385 w 8009775"/>
              <a:gd name="connsiteY260" fmla="*/ 1356043 h 6858001"/>
              <a:gd name="connsiteX261" fmla="*/ 3511001 w 8009775"/>
              <a:gd name="connsiteY261" fmla="*/ 1355409 h 6858001"/>
              <a:gd name="connsiteX262" fmla="*/ 3517208 w 8009775"/>
              <a:gd name="connsiteY262" fmla="*/ 1355090 h 6858001"/>
              <a:gd name="connsiteX263" fmla="*/ 3522823 w 8009775"/>
              <a:gd name="connsiteY263" fmla="*/ 1354773 h 6858001"/>
              <a:gd name="connsiteX264" fmla="*/ 3529030 w 8009775"/>
              <a:gd name="connsiteY264" fmla="*/ 1355090 h 6858001"/>
              <a:gd name="connsiteX265" fmla="*/ 3534646 w 8009775"/>
              <a:gd name="connsiteY265" fmla="*/ 1355409 h 6858001"/>
              <a:gd name="connsiteX266" fmla="*/ 3540557 w 8009775"/>
              <a:gd name="connsiteY266" fmla="*/ 1356043 h 6858001"/>
              <a:gd name="connsiteX267" fmla="*/ 3546468 w 8009775"/>
              <a:gd name="connsiteY267" fmla="*/ 1357314 h 6858001"/>
              <a:gd name="connsiteX268" fmla="*/ 3552380 w 8009775"/>
              <a:gd name="connsiteY268" fmla="*/ 1358265 h 6858001"/>
              <a:gd name="connsiteX269" fmla="*/ 3557995 w 8009775"/>
              <a:gd name="connsiteY269" fmla="*/ 1360170 h 6858001"/>
              <a:gd name="connsiteX270" fmla="*/ 3563906 w 8009775"/>
              <a:gd name="connsiteY270" fmla="*/ 1361759 h 6858001"/>
              <a:gd name="connsiteX271" fmla="*/ 3569227 w 8009775"/>
              <a:gd name="connsiteY271" fmla="*/ 1363980 h 6858001"/>
              <a:gd name="connsiteX272" fmla="*/ 3574842 w 8009775"/>
              <a:gd name="connsiteY272" fmla="*/ 1366204 h 6858001"/>
              <a:gd name="connsiteX273" fmla="*/ 3580458 w 8009775"/>
              <a:gd name="connsiteY273" fmla="*/ 1369061 h 6858001"/>
              <a:gd name="connsiteX274" fmla="*/ 3585778 w 8009775"/>
              <a:gd name="connsiteY274" fmla="*/ 1371919 h 6858001"/>
              <a:gd name="connsiteX275" fmla="*/ 3590803 w 8009775"/>
              <a:gd name="connsiteY275" fmla="*/ 1375094 h 6858001"/>
              <a:gd name="connsiteX276" fmla="*/ 3595828 w 8009775"/>
              <a:gd name="connsiteY276" fmla="*/ 1378585 h 6858001"/>
              <a:gd name="connsiteX277" fmla="*/ 3600852 w 8009775"/>
              <a:gd name="connsiteY277" fmla="*/ 1382396 h 6858001"/>
              <a:gd name="connsiteX278" fmla="*/ 3605581 w 8009775"/>
              <a:gd name="connsiteY278" fmla="*/ 1386524 h 6858001"/>
              <a:gd name="connsiteX279" fmla="*/ 3610014 w 8009775"/>
              <a:gd name="connsiteY279" fmla="*/ 1390969 h 6858001"/>
              <a:gd name="connsiteX280" fmla="*/ 3817500 w 8009775"/>
              <a:gd name="connsiteY280" fmla="*/ 1598296 h 6858001"/>
              <a:gd name="connsiteX281" fmla="*/ 3821934 w 8009775"/>
              <a:gd name="connsiteY281" fmla="*/ 1602423 h 6858001"/>
              <a:gd name="connsiteX282" fmla="*/ 3826663 w 8009775"/>
              <a:gd name="connsiteY282" fmla="*/ 1606869 h 6858001"/>
              <a:gd name="connsiteX283" fmla="*/ 3831687 w 8009775"/>
              <a:gd name="connsiteY283" fmla="*/ 1610361 h 6858001"/>
              <a:gd name="connsiteX284" fmla="*/ 3836712 w 8009775"/>
              <a:gd name="connsiteY284" fmla="*/ 1613854 h 6858001"/>
              <a:gd name="connsiteX285" fmla="*/ 3841736 w 8009775"/>
              <a:gd name="connsiteY285" fmla="*/ 1617345 h 6858001"/>
              <a:gd name="connsiteX286" fmla="*/ 3847352 w 8009775"/>
              <a:gd name="connsiteY286" fmla="*/ 1620204 h 6858001"/>
              <a:gd name="connsiteX287" fmla="*/ 3852672 w 8009775"/>
              <a:gd name="connsiteY287" fmla="*/ 1623061 h 6858001"/>
              <a:gd name="connsiteX288" fmla="*/ 3857992 w 8009775"/>
              <a:gd name="connsiteY288" fmla="*/ 1625283 h 6858001"/>
              <a:gd name="connsiteX289" fmla="*/ 3863608 w 8009775"/>
              <a:gd name="connsiteY289" fmla="*/ 1627189 h 6858001"/>
              <a:gd name="connsiteX290" fmla="*/ 3869519 w 8009775"/>
              <a:gd name="connsiteY290" fmla="*/ 1629094 h 6858001"/>
              <a:gd name="connsiteX291" fmla="*/ 3875135 w 8009775"/>
              <a:gd name="connsiteY291" fmla="*/ 1630998 h 6858001"/>
              <a:gd name="connsiteX292" fmla="*/ 3881046 w 8009775"/>
              <a:gd name="connsiteY292" fmla="*/ 1631950 h 6858001"/>
              <a:gd name="connsiteX293" fmla="*/ 3886662 w 8009775"/>
              <a:gd name="connsiteY293" fmla="*/ 1632904 h 6858001"/>
              <a:gd name="connsiteX294" fmla="*/ 3892869 w 8009775"/>
              <a:gd name="connsiteY294" fmla="*/ 1633856 h 6858001"/>
              <a:gd name="connsiteX295" fmla="*/ 3898485 w 8009775"/>
              <a:gd name="connsiteY295" fmla="*/ 1634174 h 6858001"/>
              <a:gd name="connsiteX296" fmla="*/ 3904396 w 8009775"/>
              <a:gd name="connsiteY296" fmla="*/ 1634174 h 6858001"/>
              <a:gd name="connsiteX297" fmla="*/ 3910307 w 8009775"/>
              <a:gd name="connsiteY297" fmla="*/ 1634174 h 6858001"/>
              <a:gd name="connsiteX298" fmla="*/ 3916219 w 8009775"/>
              <a:gd name="connsiteY298" fmla="*/ 1633856 h 6858001"/>
              <a:gd name="connsiteX299" fmla="*/ 3922425 w 8009775"/>
              <a:gd name="connsiteY299" fmla="*/ 1632904 h 6858001"/>
              <a:gd name="connsiteX300" fmla="*/ 3928041 w 8009775"/>
              <a:gd name="connsiteY300" fmla="*/ 1631950 h 6858001"/>
              <a:gd name="connsiteX301" fmla="*/ 3933657 w 8009775"/>
              <a:gd name="connsiteY301" fmla="*/ 1630998 h 6858001"/>
              <a:gd name="connsiteX302" fmla="*/ 3939568 w 8009775"/>
              <a:gd name="connsiteY302" fmla="*/ 1629094 h 6858001"/>
              <a:gd name="connsiteX303" fmla="*/ 3945184 w 8009775"/>
              <a:gd name="connsiteY303" fmla="*/ 1627189 h 6858001"/>
              <a:gd name="connsiteX304" fmla="*/ 3950799 w 8009775"/>
              <a:gd name="connsiteY304" fmla="*/ 1625283 h 6858001"/>
              <a:gd name="connsiteX305" fmla="*/ 3956415 w 8009775"/>
              <a:gd name="connsiteY305" fmla="*/ 1623061 h 6858001"/>
              <a:gd name="connsiteX306" fmla="*/ 3961735 w 8009775"/>
              <a:gd name="connsiteY306" fmla="*/ 1620204 h 6858001"/>
              <a:gd name="connsiteX307" fmla="*/ 3967055 w 8009775"/>
              <a:gd name="connsiteY307" fmla="*/ 1617345 h 6858001"/>
              <a:gd name="connsiteX308" fmla="*/ 3972376 w 8009775"/>
              <a:gd name="connsiteY308" fmla="*/ 1613854 h 6858001"/>
              <a:gd name="connsiteX309" fmla="*/ 3977400 w 8009775"/>
              <a:gd name="connsiteY309" fmla="*/ 1610361 h 6858001"/>
              <a:gd name="connsiteX310" fmla="*/ 3982425 w 8009775"/>
              <a:gd name="connsiteY310" fmla="*/ 1606869 h 6858001"/>
              <a:gd name="connsiteX311" fmla="*/ 3986858 w 8009775"/>
              <a:gd name="connsiteY311" fmla="*/ 1602423 h 6858001"/>
              <a:gd name="connsiteX312" fmla="*/ 3991587 w 8009775"/>
              <a:gd name="connsiteY312" fmla="*/ 1598296 h 6858001"/>
              <a:gd name="connsiteX313" fmla="*/ 3996021 w 8009775"/>
              <a:gd name="connsiteY313" fmla="*/ 1593533 h 6858001"/>
              <a:gd name="connsiteX314" fmla="*/ 4000159 w 8009775"/>
              <a:gd name="connsiteY314" fmla="*/ 1588771 h 6858001"/>
              <a:gd name="connsiteX315" fmla="*/ 4003705 w 8009775"/>
              <a:gd name="connsiteY315" fmla="*/ 1583691 h 6858001"/>
              <a:gd name="connsiteX316" fmla="*/ 4007548 w 8009775"/>
              <a:gd name="connsiteY316" fmla="*/ 1578928 h 6858001"/>
              <a:gd name="connsiteX317" fmla="*/ 4010799 w 8009775"/>
              <a:gd name="connsiteY317" fmla="*/ 1573849 h 6858001"/>
              <a:gd name="connsiteX318" fmla="*/ 4013459 w 8009775"/>
              <a:gd name="connsiteY318" fmla="*/ 1568451 h 6858001"/>
              <a:gd name="connsiteX319" fmla="*/ 4016415 w 8009775"/>
              <a:gd name="connsiteY319" fmla="*/ 1563054 h 6858001"/>
              <a:gd name="connsiteX320" fmla="*/ 4018484 w 8009775"/>
              <a:gd name="connsiteY320" fmla="*/ 1557339 h 6858001"/>
              <a:gd name="connsiteX321" fmla="*/ 4020848 w 8009775"/>
              <a:gd name="connsiteY321" fmla="*/ 1551941 h 6858001"/>
              <a:gd name="connsiteX322" fmla="*/ 4022621 w 8009775"/>
              <a:gd name="connsiteY322" fmla="*/ 1546226 h 6858001"/>
              <a:gd name="connsiteX323" fmla="*/ 4024395 w 8009775"/>
              <a:gd name="connsiteY323" fmla="*/ 1540511 h 6858001"/>
              <a:gd name="connsiteX324" fmla="*/ 4025282 w 8009775"/>
              <a:gd name="connsiteY324" fmla="*/ 1534478 h 6858001"/>
              <a:gd name="connsiteX325" fmla="*/ 4026464 w 8009775"/>
              <a:gd name="connsiteY325" fmla="*/ 1528763 h 6858001"/>
              <a:gd name="connsiteX326" fmla="*/ 4027055 w 8009775"/>
              <a:gd name="connsiteY326" fmla="*/ 1522731 h 6858001"/>
              <a:gd name="connsiteX327" fmla="*/ 4027646 w 8009775"/>
              <a:gd name="connsiteY327" fmla="*/ 1517016 h 6858001"/>
              <a:gd name="connsiteX328" fmla="*/ 4027646 w 8009775"/>
              <a:gd name="connsiteY328" fmla="*/ 1510984 h 6858001"/>
              <a:gd name="connsiteX329" fmla="*/ 4027646 w 8009775"/>
              <a:gd name="connsiteY329" fmla="*/ 1505268 h 6858001"/>
              <a:gd name="connsiteX330" fmla="*/ 4027055 w 8009775"/>
              <a:gd name="connsiteY330" fmla="*/ 1499553 h 6858001"/>
              <a:gd name="connsiteX331" fmla="*/ 4026464 w 8009775"/>
              <a:gd name="connsiteY331" fmla="*/ 1493204 h 6858001"/>
              <a:gd name="connsiteX332" fmla="*/ 4025282 w 8009775"/>
              <a:gd name="connsiteY332" fmla="*/ 1487489 h 6858001"/>
              <a:gd name="connsiteX333" fmla="*/ 4024395 w 8009775"/>
              <a:gd name="connsiteY333" fmla="*/ 1481773 h 6858001"/>
              <a:gd name="connsiteX334" fmla="*/ 4022621 w 8009775"/>
              <a:gd name="connsiteY334" fmla="*/ 1476058 h 6858001"/>
              <a:gd name="connsiteX335" fmla="*/ 4020848 w 8009775"/>
              <a:gd name="connsiteY335" fmla="*/ 1470343 h 6858001"/>
              <a:gd name="connsiteX336" fmla="*/ 4018484 w 8009775"/>
              <a:gd name="connsiteY336" fmla="*/ 1464629 h 6858001"/>
              <a:gd name="connsiteX337" fmla="*/ 4016415 w 8009775"/>
              <a:gd name="connsiteY337" fmla="*/ 1459231 h 6858001"/>
              <a:gd name="connsiteX338" fmla="*/ 4013459 w 8009775"/>
              <a:gd name="connsiteY338" fmla="*/ 1453834 h 6858001"/>
              <a:gd name="connsiteX339" fmla="*/ 4010799 w 8009775"/>
              <a:gd name="connsiteY339" fmla="*/ 1448436 h 6858001"/>
              <a:gd name="connsiteX340" fmla="*/ 4007548 w 8009775"/>
              <a:gd name="connsiteY340" fmla="*/ 1443356 h 6858001"/>
              <a:gd name="connsiteX341" fmla="*/ 4003705 w 8009775"/>
              <a:gd name="connsiteY341" fmla="*/ 1438275 h 6858001"/>
              <a:gd name="connsiteX342" fmla="*/ 4000159 w 8009775"/>
              <a:gd name="connsiteY342" fmla="*/ 1433195 h 6858001"/>
              <a:gd name="connsiteX343" fmla="*/ 3996021 w 8009775"/>
              <a:gd name="connsiteY343" fmla="*/ 1428751 h 6858001"/>
              <a:gd name="connsiteX344" fmla="*/ 3991587 w 8009775"/>
              <a:gd name="connsiteY344" fmla="*/ 1423988 h 6858001"/>
              <a:gd name="connsiteX345" fmla="*/ 3323022 w 8009775"/>
              <a:gd name="connsiteY345" fmla="*/ 755333 h 6858001"/>
              <a:gd name="connsiteX346" fmla="*/ 3316815 w 8009775"/>
              <a:gd name="connsiteY346" fmla="*/ 748348 h 6858001"/>
              <a:gd name="connsiteX347" fmla="*/ 3310904 w 8009775"/>
              <a:gd name="connsiteY347" fmla="*/ 741045 h 6858001"/>
              <a:gd name="connsiteX348" fmla="*/ 3305584 w 8009775"/>
              <a:gd name="connsiteY348" fmla="*/ 733108 h 6858001"/>
              <a:gd name="connsiteX349" fmla="*/ 3300855 w 8009775"/>
              <a:gd name="connsiteY349" fmla="*/ 725170 h 6858001"/>
              <a:gd name="connsiteX350" fmla="*/ 3297308 w 8009775"/>
              <a:gd name="connsiteY350" fmla="*/ 716915 h 6858001"/>
              <a:gd name="connsiteX351" fmla="*/ 3293761 w 8009775"/>
              <a:gd name="connsiteY351" fmla="*/ 708660 h 6858001"/>
              <a:gd name="connsiteX352" fmla="*/ 3291101 w 8009775"/>
              <a:gd name="connsiteY352" fmla="*/ 699770 h 6858001"/>
              <a:gd name="connsiteX353" fmla="*/ 3289328 w 8009775"/>
              <a:gd name="connsiteY353" fmla="*/ 691198 h 6858001"/>
              <a:gd name="connsiteX354" fmla="*/ 2596527 w 8009775"/>
              <a:gd name="connsiteY354" fmla="*/ 0 h 6858001"/>
              <a:gd name="connsiteX0" fmla="*/ 2596527 w 8009775"/>
              <a:gd name="connsiteY0" fmla="*/ 0 h 6858001"/>
              <a:gd name="connsiteX1" fmla="*/ 2165004 w 8009775"/>
              <a:gd name="connsiteY1" fmla="*/ 0 h 6858001"/>
              <a:gd name="connsiteX2" fmla="*/ 3265978 w 8009775"/>
              <a:gd name="connsiteY2" fmla="*/ 1101091 h 6858001"/>
              <a:gd name="connsiteX3" fmla="*/ 3270708 w 8009775"/>
              <a:gd name="connsiteY3" fmla="*/ 1105854 h 6858001"/>
              <a:gd name="connsiteX4" fmla="*/ 3274550 w 8009775"/>
              <a:gd name="connsiteY4" fmla="*/ 1110615 h 6858001"/>
              <a:gd name="connsiteX5" fmla="*/ 3278688 w 8009775"/>
              <a:gd name="connsiteY5" fmla="*/ 1115696 h 6858001"/>
              <a:gd name="connsiteX6" fmla="*/ 3282234 w 8009775"/>
              <a:gd name="connsiteY6" fmla="*/ 1120776 h 6858001"/>
              <a:gd name="connsiteX7" fmla="*/ 3285486 w 8009775"/>
              <a:gd name="connsiteY7" fmla="*/ 1126174 h 6858001"/>
              <a:gd name="connsiteX8" fmla="*/ 3288146 w 8009775"/>
              <a:gd name="connsiteY8" fmla="*/ 1131570 h 6858001"/>
              <a:gd name="connsiteX9" fmla="*/ 3291101 w 8009775"/>
              <a:gd name="connsiteY9" fmla="*/ 1136968 h 6858001"/>
              <a:gd name="connsiteX10" fmla="*/ 3293761 w 8009775"/>
              <a:gd name="connsiteY10" fmla="*/ 1142366 h 6858001"/>
              <a:gd name="connsiteX11" fmla="*/ 3295830 w 8009775"/>
              <a:gd name="connsiteY11" fmla="*/ 1148081 h 6858001"/>
              <a:gd name="connsiteX12" fmla="*/ 3297604 w 8009775"/>
              <a:gd name="connsiteY12" fmla="*/ 1153796 h 6858001"/>
              <a:gd name="connsiteX13" fmla="*/ 3299082 w 8009775"/>
              <a:gd name="connsiteY13" fmla="*/ 1159829 h 6858001"/>
              <a:gd name="connsiteX14" fmla="*/ 3300559 w 8009775"/>
              <a:gd name="connsiteY14" fmla="*/ 1165544 h 6858001"/>
              <a:gd name="connsiteX15" fmla="*/ 3301446 w 8009775"/>
              <a:gd name="connsiteY15" fmla="*/ 1171893 h 6858001"/>
              <a:gd name="connsiteX16" fmla="*/ 3302333 w 8009775"/>
              <a:gd name="connsiteY16" fmla="*/ 1177608 h 6858001"/>
              <a:gd name="connsiteX17" fmla="*/ 3302628 w 8009775"/>
              <a:gd name="connsiteY17" fmla="*/ 1183641 h 6858001"/>
              <a:gd name="connsiteX18" fmla="*/ 3302628 w 8009775"/>
              <a:gd name="connsiteY18" fmla="*/ 1189356 h 6858001"/>
              <a:gd name="connsiteX19" fmla="*/ 3302628 w 8009775"/>
              <a:gd name="connsiteY19" fmla="*/ 1195388 h 6858001"/>
              <a:gd name="connsiteX20" fmla="*/ 3302333 w 8009775"/>
              <a:gd name="connsiteY20" fmla="*/ 1201739 h 6858001"/>
              <a:gd name="connsiteX21" fmla="*/ 3301446 w 8009775"/>
              <a:gd name="connsiteY21" fmla="*/ 1207454 h 6858001"/>
              <a:gd name="connsiteX22" fmla="*/ 3300559 w 8009775"/>
              <a:gd name="connsiteY22" fmla="*/ 1213486 h 6858001"/>
              <a:gd name="connsiteX23" fmla="*/ 3299082 w 8009775"/>
              <a:gd name="connsiteY23" fmla="*/ 1219200 h 6858001"/>
              <a:gd name="connsiteX24" fmla="*/ 3297604 w 8009775"/>
              <a:gd name="connsiteY24" fmla="*/ 1225233 h 6858001"/>
              <a:gd name="connsiteX25" fmla="*/ 3295830 w 8009775"/>
              <a:gd name="connsiteY25" fmla="*/ 1230949 h 6858001"/>
              <a:gd name="connsiteX26" fmla="*/ 3293761 w 8009775"/>
              <a:gd name="connsiteY26" fmla="*/ 1236346 h 6858001"/>
              <a:gd name="connsiteX27" fmla="*/ 3291101 w 8009775"/>
              <a:gd name="connsiteY27" fmla="*/ 1242061 h 6858001"/>
              <a:gd name="connsiteX28" fmla="*/ 3288146 w 8009775"/>
              <a:gd name="connsiteY28" fmla="*/ 1247459 h 6858001"/>
              <a:gd name="connsiteX29" fmla="*/ 3285486 w 8009775"/>
              <a:gd name="connsiteY29" fmla="*/ 1252855 h 6858001"/>
              <a:gd name="connsiteX30" fmla="*/ 3282234 w 8009775"/>
              <a:gd name="connsiteY30" fmla="*/ 1258254 h 6858001"/>
              <a:gd name="connsiteX31" fmla="*/ 3278688 w 8009775"/>
              <a:gd name="connsiteY31" fmla="*/ 1263333 h 6858001"/>
              <a:gd name="connsiteX32" fmla="*/ 3274550 w 8009775"/>
              <a:gd name="connsiteY32" fmla="*/ 1268413 h 6858001"/>
              <a:gd name="connsiteX33" fmla="*/ 3270708 w 8009775"/>
              <a:gd name="connsiteY33" fmla="*/ 1273494 h 6858001"/>
              <a:gd name="connsiteX34" fmla="*/ 3265978 w 8009775"/>
              <a:gd name="connsiteY34" fmla="*/ 1278255 h 6858001"/>
              <a:gd name="connsiteX35" fmla="*/ 3261249 w 8009775"/>
              <a:gd name="connsiteY35" fmla="*/ 1282384 h 6858001"/>
              <a:gd name="connsiteX36" fmla="*/ 3256816 w 8009775"/>
              <a:gd name="connsiteY36" fmla="*/ 1286510 h 6858001"/>
              <a:gd name="connsiteX37" fmla="*/ 3251791 w 8009775"/>
              <a:gd name="connsiteY37" fmla="*/ 1290321 h 6858001"/>
              <a:gd name="connsiteX38" fmla="*/ 3246767 w 8009775"/>
              <a:gd name="connsiteY38" fmla="*/ 1293814 h 6858001"/>
              <a:gd name="connsiteX39" fmla="*/ 3241151 w 8009775"/>
              <a:gd name="connsiteY39" fmla="*/ 1297306 h 6858001"/>
              <a:gd name="connsiteX40" fmla="*/ 3235831 w 8009775"/>
              <a:gd name="connsiteY40" fmla="*/ 1300481 h 6858001"/>
              <a:gd name="connsiteX41" fmla="*/ 3230511 w 8009775"/>
              <a:gd name="connsiteY41" fmla="*/ 1303021 h 6858001"/>
              <a:gd name="connsiteX42" fmla="*/ 3224600 w 8009775"/>
              <a:gd name="connsiteY42" fmla="*/ 1305560 h 6858001"/>
              <a:gd name="connsiteX43" fmla="*/ 3218984 w 8009775"/>
              <a:gd name="connsiteY43" fmla="*/ 1307465 h 6858001"/>
              <a:gd name="connsiteX44" fmla="*/ 3213072 w 8009775"/>
              <a:gd name="connsiteY44" fmla="*/ 1309371 h 6858001"/>
              <a:gd name="connsiteX45" fmla="*/ 3207457 w 8009775"/>
              <a:gd name="connsiteY45" fmla="*/ 1311275 h 6858001"/>
              <a:gd name="connsiteX46" fmla="*/ 3201841 w 8009775"/>
              <a:gd name="connsiteY46" fmla="*/ 1312228 h 6858001"/>
              <a:gd name="connsiteX47" fmla="*/ 3195634 w 8009775"/>
              <a:gd name="connsiteY47" fmla="*/ 1313180 h 6858001"/>
              <a:gd name="connsiteX48" fmla="*/ 3189428 w 8009775"/>
              <a:gd name="connsiteY48" fmla="*/ 1314133 h 6858001"/>
              <a:gd name="connsiteX49" fmla="*/ 3183812 w 8009775"/>
              <a:gd name="connsiteY49" fmla="*/ 1314450 h 6858001"/>
              <a:gd name="connsiteX50" fmla="*/ 3177605 w 8009775"/>
              <a:gd name="connsiteY50" fmla="*/ 1314769 h 6858001"/>
              <a:gd name="connsiteX51" fmla="*/ 3171694 w 8009775"/>
              <a:gd name="connsiteY51" fmla="*/ 1314450 h 6858001"/>
              <a:gd name="connsiteX52" fmla="*/ 3165782 w 8009775"/>
              <a:gd name="connsiteY52" fmla="*/ 1314133 h 6858001"/>
              <a:gd name="connsiteX53" fmla="*/ 3159576 w 8009775"/>
              <a:gd name="connsiteY53" fmla="*/ 1313180 h 6858001"/>
              <a:gd name="connsiteX54" fmla="*/ 3153960 w 8009775"/>
              <a:gd name="connsiteY54" fmla="*/ 1312228 h 6858001"/>
              <a:gd name="connsiteX55" fmla="*/ 3147753 w 8009775"/>
              <a:gd name="connsiteY55" fmla="*/ 1311275 h 6858001"/>
              <a:gd name="connsiteX56" fmla="*/ 3142137 w 8009775"/>
              <a:gd name="connsiteY56" fmla="*/ 1309371 h 6858001"/>
              <a:gd name="connsiteX57" fmla="*/ 3136226 w 8009775"/>
              <a:gd name="connsiteY57" fmla="*/ 1307465 h 6858001"/>
              <a:gd name="connsiteX58" fmla="*/ 3130610 w 8009775"/>
              <a:gd name="connsiteY58" fmla="*/ 1305560 h 6858001"/>
              <a:gd name="connsiteX59" fmla="*/ 3124994 w 8009775"/>
              <a:gd name="connsiteY59" fmla="*/ 1303021 h 6858001"/>
              <a:gd name="connsiteX60" fmla="*/ 3119379 w 8009775"/>
              <a:gd name="connsiteY60" fmla="*/ 1300481 h 6858001"/>
              <a:gd name="connsiteX61" fmla="*/ 3114059 w 8009775"/>
              <a:gd name="connsiteY61" fmla="*/ 1297306 h 6858001"/>
              <a:gd name="connsiteX62" fmla="*/ 3109034 w 8009775"/>
              <a:gd name="connsiteY62" fmla="*/ 1293814 h 6858001"/>
              <a:gd name="connsiteX63" fmla="*/ 3103714 w 8009775"/>
              <a:gd name="connsiteY63" fmla="*/ 1290321 h 6858001"/>
              <a:gd name="connsiteX64" fmla="*/ 3098689 w 8009775"/>
              <a:gd name="connsiteY64" fmla="*/ 1286510 h 6858001"/>
              <a:gd name="connsiteX65" fmla="*/ 3093960 w 8009775"/>
              <a:gd name="connsiteY65" fmla="*/ 1282384 h 6858001"/>
              <a:gd name="connsiteX66" fmla="*/ 3089231 w 8009775"/>
              <a:gd name="connsiteY66" fmla="*/ 1278255 h 6858001"/>
              <a:gd name="connsiteX67" fmla="*/ 1811214 w 8009775"/>
              <a:gd name="connsiteY67" fmla="*/ 0 h 6858001"/>
              <a:gd name="connsiteX68" fmla="*/ 551808 w 8009775"/>
              <a:gd name="connsiteY68" fmla="*/ 0 h 6858001"/>
              <a:gd name="connsiteX69" fmla="*/ 408933 w 8009775"/>
              <a:gd name="connsiteY69" fmla="*/ 0 h 6858001"/>
              <a:gd name="connsiteX70" fmla="*/ 55488 w 8009775"/>
              <a:gd name="connsiteY70" fmla="*/ 0 h 6858001"/>
              <a:gd name="connsiteX71" fmla="*/ 0 w 8009775"/>
              <a:gd name="connsiteY71" fmla="*/ 0 h 6858001"/>
              <a:gd name="connsiteX72" fmla="*/ 0 w 8009775"/>
              <a:gd name="connsiteY72" fmla="*/ 6858000 h 6858001"/>
              <a:gd name="connsiteX73" fmla="*/ 7364776 w 8009775"/>
              <a:gd name="connsiteY73" fmla="*/ 6858001 h 6858001"/>
              <a:gd name="connsiteX74" fmla="*/ 7460026 w 8009775"/>
              <a:gd name="connsiteY74" fmla="*/ 6858001 h 6858001"/>
              <a:gd name="connsiteX75" fmla="*/ 7507651 w 8009775"/>
              <a:gd name="connsiteY75" fmla="*/ 6858001 h 6858001"/>
              <a:gd name="connsiteX76" fmla="*/ 7507650 w 8009775"/>
              <a:gd name="connsiteY76" fmla="*/ 6858000 h 6858001"/>
              <a:gd name="connsiteX77" fmla="*/ 8009775 w 8009775"/>
              <a:gd name="connsiteY77" fmla="*/ 6858000 h 6858001"/>
              <a:gd name="connsiteX78" fmla="*/ 3996316 w 8009775"/>
              <a:gd name="connsiteY78" fmla="*/ 2818448 h 6858001"/>
              <a:gd name="connsiteX79" fmla="*/ 3980947 w 8009775"/>
              <a:gd name="connsiteY79" fmla="*/ 2804795 h 6858001"/>
              <a:gd name="connsiteX80" fmla="*/ 3965282 w 8009775"/>
              <a:gd name="connsiteY80" fmla="*/ 2791144 h 6858001"/>
              <a:gd name="connsiteX81" fmla="*/ 3950799 w 8009775"/>
              <a:gd name="connsiteY81" fmla="*/ 2776856 h 6858001"/>
              <a:gd name="connsiteX82" fmla="*/ 3936021 w 8009775"/>
              <a:gd name="connsiteY82" fmla="*/ 2762568 h 6858001"/>
              <a:gd name="connsiteX83" fmla="*/ 3001744 w 8009775"/>
              <a:gd name="connsiteY83" fmla="*/ 1828166 h 6858001"/>
              <a:gd name="connsiteX84" fmla="*/ 2997311 w 8009775"/>
              <a:gd name="connsiteY84" fmla="*/ 1823404 h 6858001"/>
              <a:gd name="connsiteX85" fmla="*/ 2992878 w 8009775"/>
              <a:gd name="connsiteY85" fmla="*/ 1818640 h 6858001"/>
              <a:gd name="connsiteX86" fmla="*/ 2989331 w 8009775"/>
              <a:gd name="connsiteY86" fmla="*/ 1814195 h 6858001"/>
              <a:gd name="connsiteX87" fmla="*/ 2985784 w 8009775"/>
              <a:gd name="connsiteY87" fmla="*/ 1808799 h 6858001"/>
              <a:gd name="connsiteX88" fmla="*/ 2982533 w 8009775"/>
              <a:gd name="connsiteY88" fmla="*/ 1803718 h 6858001"/>
              <a:gd name="connsiteX89" fmla="*/ 2979873 w 8009775"/>
              <a:gd name="connsiteY89" fmla="*/ 1798321 h 6858001"/>
              <a:gd name="connsiteX90" fmla="*/ 2976917 w 8009775"/>
              <a:gd name="connsiteY90" fmla="*/ 1792924 h 6858001"/>
              <a:gd name="connsiteX91" fmla="*/ 2974552 w 8009775"/>
              <a:gd name="connsiteY91" fmla="*/ 1787526 h 6858001"/>
              <a:gd name="connsiteX92" fmla="*/ 2972484 w 8009775"/>
              <a:gd name="connsiteY92" fmla="*/ 1781811 h 6858001"/>
              <a:gd name="connsiteX93" fmla="*/ 2970710 w 8009775"/>
              <a:gd name="connsiteY93" fmla="*/ 1776095 h 6858001"/>
              <a:gd name="connsiteX94" fmla="*/ 2968937 w 8009775"/>
              <a:gd name="connsiteY94" fmla="*/ 1770380 h 6858001"/>
              <a:gd name="connsiteX95" fmla="*/ 2967755 w 8009775"/>
              <a:gd name="connsiteY95" fmla="*/ 1764665 h 6858001"/>
              <a:gd name="connsiteX96" fmla="*/ 2966868 w 8009775"/>
              <a:gd name="connsiteY96" fmla="*/ 1758634 h 6858001"/>
              <a:gd name="connsiteX97" fmla="*/ 2965981 w 8009775"/>
              <a:gd name="connsiteY97" fmla="*/ 1752919 h 6858001"/>
              <a:gd name="connsiteX98" fmla="*/ 2965686 w 8009775"/>
              <a:gd name="connsiteY98" fmla="*/ 1746885 h 6858001"/>
              <a:gd name="connsiteX99" fmla="*/ 2965686 w 8009775"/>
              <a:gd name="connsiteY99" fmla="*/ 1741170 h 6858001"/>
              <a:gd name="connsiteX100" fmla="*/ 2965686 w 8009775"/>
              <a:gd name="connsiteY100" fmla="*/ 1735139 h 6858001"/>
              <a:gd name="connsiteX101" fmla="*/ 2965981 w 8009775"/>
              <a:gd name="connsiteY101" fmla="*/ 1729424 h 6858001"/>
              <a:gd name="connsiteX102" fmla="*/ 2966868 w 8009775"/>
              <a:gd name="connsiteY102" fmla="*/ 1723074 h 6858001"/>
              <a:gd name="connsiteX103" fmla="*/ 2967755 w 8009775"/>
              <a:gd name="connsiteY103" fmla="*/ 1717358 h 6858001"/>
              <a:gd name="connsiteX104" fmla="*/ 2968937 w 8009775"/>
              <a:gd name="connsiteY104" fmla="*/ 1711643 h 6858001"/>
              <a:gd name="connsiteX105" fmla="*/ 2970710 w 8009775"/>
              <a:gd name="connsiteY105" fmla="*/ 1705929 h 6858001"/>
              <a:gd name="connsiteX106" fmla="*/ 2972484 w 8009775"/>
              <a:gd name="connsiteY106" fmla="*/ 1700214 h 6858001"/>
              <a:gd name="connsiteX107" fmla="*/ 2974552 w 8009775"/>
              <a:gd name="connsiteY107" fmla="*/ 1694816 h 6858001"/>
              <a:gd name="connsiteX108" fmla="*/ 2976917 w 8009775"/>
              <a:gd name="connsiteY108" fmla="*/ 1689101 h 6858001"/>
              <a:gd name="connsiteX109" fmla="*/ 2979873 w 8009775"/>
              <a:gd name="connsiteY109" fmla="*/ 1683703 h 6858001"/>
              <a:gd name="connsiteX110" fmla="*/ 2982533 w 8009775"/>
              <a:gd name="connsiteY110" fmla="*/ 1678305 h 6858001"/>
              <a:gd name="connsiteX111" fmla="*/ 2985784 w 8009775"/>
              <a:gd name="connsiteY111" fmla="*/ 1673226 h 6858001"/>
              <a:gd name="connsiteX112" fmla="*/ 2989331 w 8009775"/>
              <a:gd name="connsiteY112" fmla="*/ 1668145 h 6858001"/>
              <a:gd name="connsiteX113" fmla="*/ 2992878 w 8009775"/>
              <a:gd name="connsiteY113" fmla="*/ 1663066 h 6858001"/>
              <a:gd name="connsiteX114" fmla="*/ 2997311 w 8009775"/>
              <a:gd name="connsiteY114" fmla="*/ 1658621 h 6858001"/>
              <a:gd name="connsiteX115" fmla="*/ 3001744 w 8009775"/>
              <a:gd name="connsiteY115" fmla="*/ 1653859 h 6858001"/>
              <a:gd name="connsiteX116" fmla="*/ 3006178 w 8009775"/>
              <a:gd name="connsiteY116" fmla="*/ 1649414 h 6858001"/>
              <a:gd name="connsiteX117" fmla="*/ 3010907 w 8009775"/>
              <a:gd name="connsiteY117" fmla="*/ 1645603 h 6858001"/>
              <a:gd name="connsiteX118" fmla="*/ 3015932 w 8009775"/>
              <a:gd name="connsiteY118" fmla="*/ 1641794 h 6858001"/>
              <a:gd name="connsiteX119" fmla="*/ 3020956 w 8009775"/>
              <a:gd name="connsiteY119" fmla="*/ 1637984 h 6858001"/>
              <a:gd name="connsiteX120" fmla="*/ 3025981 w 8009775"/>
              <a:gd name="connsiteY120" fmla="*/ 1634809 h 6858001"/>
              <a:gd name="connsiteX121" fmla="*/ 3031596 w 8009775"/>
              <a:gd name="connsiteY121" fmla="*/ 1631950 h 6858001"/>
              <a:gd name="connsiteX122" fmla="*/ 3036916 w 8009775"/>
              <a:gd name="connsiteY122" fmla="*/ 1629094 h 6858001"/>
              <a:gd name="connsiteX123" fmla="*/ 3042532 w 8009775"/>
              <a:gd name="connsiteY123" fmla="*/ 1626871 h 6858001"/>
              <a:gd name="connsiteX124" fmla="*/ 3047852 w 8009775"/>
              <a:gd name="connsiteY124" fmla="*/ 1624649 h 6858001"/>
              <a:gd name="connsiteX125" fmla="*/ 3053764 w 8009775"/>
              <a:gd name="connsiteY125" fmla="*/ 1623061 h 6858001"/>
              <a:gd name="connsiteX126" fmla="*/ 3059379 w 8009775"/>
              <a:gd name="connsiteY126" fmla="*/ 1621155 h 6858001"/>
              <a:gd name="connsiteX127" fmla="*/ 3065291 w 8009775"/>
              <a:gd name="connsiteY127" fmla="*/ 1620204 h 6858001"/>
              <a:gd name="connsiteX128" fmla="*/ 3070906 w 8009775"/>
              <a:gd name="connsiteY128" fmla="*/ 1618934 h 6858001"/>
              <a:gd name="connsiteX129" fmla="*/ 3077113 w 8009775"/>
              <a:gd name="connsiteY129" fmla="*/ 1618299 h 6858001"/>
              <a:gd name="connsiteX130" fmla="*/ 3082729 w 8009775"/>
              <a:gd name="connsiteY130" fmla="*/ 1617981 h 6858001"/>
              <a:gd name="connsiteX131" fmla="*/ 3088936 w 8009775"/>
              <a:gd name="connsiteY131" fmla="*/ 1617981 h 6858001"/>
              <a:gd name="connsiteX132" fmla="*/ 3094552 w 8009775"/>
              <a:gd name="connsiteY132" fmla="*/ 1617981 h 6858001"/>
              <a:gd name="connsiteX133" fmla="*/ 3100758 w 8009775"/>
              <a:gd name="connsiteY133" fmla="*/ 1618299 h 6858001"/>
              <a:gd name="connsiteX134" fmla="*/ 3106670 w 8009775"/>
              <a:gd name="connsiteY134" fmla="*/ 1618934 h 6858001"/>
              <a:gd name="connsiteX135" fmla="*/ 3112285 w 8009775"/>
              <a:gd name="connsiteY135" fmla="*/ 1620204 h 6858001"/>
              <a:gd name="connsiteX136" fmla="*/ 3117901 w 8009775"/>
              <a:gd name="connsiteY136" fmla="*/ 1621155 h 6858001"/>
              <a:gd name="connsiteX137" fmla="*/ 3123812 w 8009775"/>
              <a:gd name="connsiteY137" fmla="*/ 1623061 h 6858001"/>
              <a:gd name="connsiteX138" fmla="*/ 3129428 w 8009775"/>
              <a:gd name="connsiteY138" fmla="*/ 1624649 h 6858001"/>
              <a:gd name="connsiteX139" fmla="*/ 3135339 w 8009775"/>
              <a:gd name="connsiteY139" fmla="*/ 1626871 h 6858001"/>
              <a:gd name="connsiteX140" fmla="*/ 3140660 w 8009775"/>
              <a:gd name="connsiteY140" fmla="*/ 1629094 h 6858001"/>
              <a:gd name="connsiteX141" fmla="*/ 3145980 w 8009775"/>
              <a:gd name="connsiteY141" fmla="*/ 1631950 h 6858001"/>
              <a:gd name="connsiteX142" fmla="*/ 3151300 w 8009775"/>
              <a:gd name="connsiteY142" fmla="*/ 1634809 h 6858001"/>
              <a:gd name="connsiteX143" fmla="*/ 3156324 w 8009775"/>
              <a:gd name="connsiteY143" fmla="*/ 1637984 h 6858001"/>
              <a:gd name="connsiteX144" fmla="*/ 3161349 w 8009775"/>
              <a:gd name="connsiteY144" fmla="*/ 1641794 h 6858001"/>
              <a:gd name="connsiteX145" fmla="*/ 3166374 w 8009775"/>
              <a:gd name="connsiteY145" fmla="*/ 1645603 h 6858001"/>
              <a:gd name="connsiteX146" fmla="*/ 3171102 w 8009775"/>
              <a:gd name="connsiteY146" fmla="*/ 1649414 h 6858001"/>
              <a:gd name="connsiteX147" fmla="*/ 3175832 w 8009775"/>
              <a:gd name="connsiteY147" fmla="*/ 1653859 h 6858001"/>
              <a:gd name="connsiteX148" fmla="*/ 3844692 w 8009775"/>
              <a:gd name="connsiteY148" fmla="*/ 2322830 h 6858001"/>
              <a:gd name="connsiteX149" fmla="*/ 3849421 w 8009775"/>
              <a:gd name="connsiteY149" fmla="*/ 2326958 h 6858001"/>
              <a:gd name="connsiteX150" fmla="*/ 3854150 w 8009775"/>
              <a:gd name="connsiteY150" fmla="*/ 2331085 h 6858001"/>
              <a:gd name="connsiteX151" fmla="*/ 3859175 w 8009775"/>
              <a:gd name="connsiteY151" fmla="*/ 2334895 h 6858001"/>
              <a:gd name="connsiteX152" fmla="*/ 3864199 w 8009775"/>
              <a:gd name="connsiteY152" fmla="*/ 2338705 h 6858001"/>
              <a:gd name="connsiteX153" fmla="*/ 3869224 w 8009775"/>
              <a:gd name="connsiteY153" fmla="*/ 2341880 h 6858001"/>
              <a:gd name="connsiteX154" fmla="*/ 3874544 w 8009775"/>
              <a:gd name="connsiteY154" fmla="*/ 2344738 h 6858001"/>
              <a:gd name="connsiteX155" fmla="*/ 3879864 w 8009775"/>
              <a:gd name="connsiteY155" fmla="*/ 2347595 h 6858001"/>
              <a:gd name="connsiteX156" fmla="*/ 3885775 w 8009775"/>
              <a:gd name="connsiteY156" fmla="*/ 2349818 h 6858001"/>
              <a:gd name="connsiteX157" fmla="*/ 3891096 w 8009775"/>
              <a:gd name="connsiteY157" fmla="*/ 2351723 h 6858001"/>
              <a:gd name="connsiteX158" fmla="*/ 3896711 w 8009775"/>
              <a:gd name="connsiteY158" fmla="*/ 2353628 h 6858001"/>
              <a:gd name="connsiteX159" fmla="*/ 3902623 w 8009775"/>
              <a:gd name="connsiteY159" fmla="*/ 2355534 h 6858001"/>
              <a:gd name="connsiteX160" fmla="*/ 3908238 w 8009775"/>
              <a:gd name="connsiteY160" fmla="*/ 2356485 h 6858001"/>
              <a:gd name="connsiteX161" fmla="*/ 3914150 w 8009775"/>
              <a:gd name="connsiteY161" fmla="*/ 2357755 h 6858001"/>
              <a:gd name="connsiteX162" fmla="*/ 3920061 w 8009775"/>
              <a:gd name="connsiteY162" fmla="*/ 2358391 h 6858001"/>
              <a:gd name="connsiteX163" fmla="*/ 3925972 w 8009775"/>
              <a:gd name="connsiteY163" fmla="*/ 2358708 h 6858001"/>
              <a:gd name="connsiteX164" fmla="*/ 3931883 w 8009775"/>
              <a:gd name="connsiteY164" fmla="*/ 2358708 h 6858001"/>
              <a:gd name="connsiteX165" fmla="*/ 3937795 w 8009775"/>
              <a:gd name="connsiteY165" fmla="*/ 2358708 h 6858001"/>
              <a:gd name="connsiteX166" fmla="*/ 3943706 w 8009775"/>
              <a:gd name="connsiteY166" fmla="*/ 2358391 h 6858001"/>
              <a:gd name="connsiteX167" fmla="*/ 3949617 w 8009775"/>
              <a:gd name="connsiteY167" fmla="*/ 2357755 h 6858001"/>
              <a:gd name="connsiteX168" fmla="*/ 3955233 w 8009775"/>
              <a:gd name="connsiteY168" fmla="*/ 2356485 h 6858001"/>
              <a:gd name="connsiteX169" fmla="*/ 3961144 w 8009775"/>
              <a:gd name="connsiteY169" fmla="*/ 2355534 h 6858001"/>
              <a:gd name="connsiteX170" fmla="*/ 3966760 w 8009775"/>
              <a:gd name="connsiteY170" fmla="*/ 2353628 h 6858001"/>
              <a:gd name="connsiteX171" fmla="*/ 3972671 w 8009775"/>
              <a:gd name="connsiteY171" fmla="*/ 2351723 h 6858001"/>
              <a:gd name="connsiteX172" fmla="*/ 3978287 w 8009775"/>
              <a:gd name="connsiteY172" fmla="*/ 2349818 h 6858001"/>
              <a:gd name="connsiteX173" fmla="*/ 3983607 w 8009775"/>
              <a:gd name="connsiteY173" fmla="*/ 2347595 h 6858001"/>
              <a:gd name="connsiteX174" fmla="*/ 3989223 w 8009775"/>
              <a:gd name="connsiteY174" fmla="*/ 2344738 h 6858001"/>
              <a:gd name="connsiteX175" fmla="*/ 3994543 w 8009775"/>
              <a:gd name="connsiteY175" fmla="*/ 2341880 h 6858001"/>
              <a:gd name="connsiteX176" fmla="*/ 3999567 w 8009775"/>
              <a:gd name="connsiteY176" fmla="*/ 2338705 h 6858001"/>
              <a:gd name="connsiteX177" fmla="*/ 4004888 w 8009775"/>
              <a:gd name="connsiteY177" fmla="*/ 2334895 h 6858001"/>
              <a:gd name="connsiteX178" fmla="*/ 4009617 w 8009775"/>
              <a:gd name="connsiteY178" fmla="*/ 2331085 h 6858001"/>
              <a:gd name="connsiteX179" fmla="*/ 4014346 w 8009775"/>
              <a:gd name="connsiteY179" fmla="*/ 2326958 h 6858001"/>
              <a:gd name="connsiteX180" fmla="*/ 4018779 w 8009775"/>
              <a:gd name="connsiteY180" fmla="*/ 2322830 h 6858001"/>
              <a:gd name="connsiteX181" fmla="*/ 4023213 w 8009775"/>
              <a:gd name="connsiteY181" fmla="*/ 2318068 h 6858001"/>
              <a:gd name="connsiteX182" fmla="*/ 4027646 w 8009775"/>
              <a:gd name="connsiteY182" fmla="*/ 2313306 h 6858001"/>
              <a:gd name="connsiteX183" fmla="*/ 4031193 w 8009775"/>
              <a:gd name="connsiteY183" fmla="*/ 2308544 h 6858001"/>
              <a:gd name="connsiteX184" fmla="*/ 4034740 w 8009775"/>
              <a:gd name="connsiteY184" fmla="*/ 2303463 h 6858001"/>
              <a:gd name="connsiteX185" fmla="*/ 4037991 w 8009775"/>
              <a:gd name="connsiteY185" fmla="*/ 2298384 h 6858001"/>
              <a:gd name="connsiteX186" fmla="*/ 4040946 w 8009775"/>
              <a:gd name="connsiteY186" fmla="*/ 2292985 h 6858001"/>
              <a:gd name="connsiteX187" fmla="*/ 4043606 w 8009775"/>
              <a:gd name="connsiteY187" fmla="*/ 2287588 h 6858001"/>
              <a:gd name="connsiteX188" fmla="*/ 4046267 w 8009775"/>
              <a:gd name="connsiteY188" fmla="*/ 2281873 h 6858001"/>
              <a:gd name="connsiteX189" fmla="*/ 4048040 w 8009775"/>
              <a:gd name="connsiteY189" fmla="*/ 2276476 h 6858001"/>
              <a:gd name="connsiteX190" fmla="*/ 4050109 w 8009775"/>
              <a:gd name="connsiteY190" fmla="*/ 2270761 h 6858001"/>
              <a:gd name="connsiteX191" fmla="*/ 4051587 w 8009775"/>
              <a:gd name="connsiteY191" fmla="*/ 2265046 h 6858001"/>
              <a:gd name="connsiteX192" fmla="*/ 4052769 w 8009775"/>
              <a:gd name="connsiteY192" fmla="*/ 2259331 h 6858001"/>
              <a:gd name="connsiteX193" fmla="*/ 4053656 w 8009775"/>
              <a:gd name="connsiteY193" fmla="*/ 2253298 h 6858001"/>
              <a:gd name="connsiteX194" fmla="*/ 4054542 w 8009775"/>
              <a:gd name="connsiteY194" fmla="*/ 2247266 h 6858001"/>
              <a:gd name="connsiteX195" fmla="*/ 4054838 w 8009775"/>
              <a:gd name="connsiteY195" fmla="*/ 2241551 h 6858001"/>
              <a:gd name="connsiteX196" fmla="*/ 4055133 w 8009775"/>
              <a:gd name="connsiteY196" fmla="*/ 2235519 h 6858001"/>
              <a:gd name="connsiteX197" fmla="*/ 4054838 w 8009775"/>
              <a:gd name="connsiteY197" fmla="*/ 2229804 h 6858001"/>
              <a:gd name="connsiteX198" fmla="*/ 4054542 w 8009775"/>
              <a:gd name="connsiteY198" fmla="*/ 2223770 h 6858001"/>
              <a:gd name="connsiteX199" fmla="*/ 4053656 w 8009775"/>
              <a:gd name="connsiteY199" fmla="*/ 2217739 h 6858001"/>
              <a:gd name="connsiteX200" fmla="*/ 4052769 w 8009775"/>
              <a:gd name="connsiteY200" fmla="*/ 2212024 h 6858001"/>
              <a:gd name="connsiteX201" fmla="*/ 4051587 w 8009775"/>
              <a:gd name="connsiteY201" fmla="*/ 2206309 h 6858001"/>
              <a:gd name="connsiteX202" fmla="*/ 4050109 w 8009775"/>
              <a:gd name="connsiteY202" fmla="*/ 2200593 h 6858001"/>
              <a:gd name="connsiteX203" fmla="*/ 4048040 w 8009775"/>
              <a:gd name="connsiteY203" fmla="*/ 2194878 h 6858001"/>
              <a:gd name="connsiteX204" fmla="*/ 4046267 w 8009775"/>
              <a:gd name="connsiteY204" fmla="*/ 2189163 h 6858001"/>
              <a:gd name="connsiteX205" fmla="*/ 4043606 w 8009775"/>
              <a:gd name="connsiteY205" fmla="*/ 2183765 h 6858001"/>
              <a:gd name="connsiteX206" fmla="*/ 4040946 w 8009775"/>
              <a:gd name="connsiteY206" fmla="*/ 2178368 h 6858001"/>
              <a:gd name="connsiteX207" fmla="*/ 4037991 w 8009775"/>
              <a:gd name="connsiteY207" fmla="*/ 2172970 h 6858001"/>
              <a:gd name="connsiteX208" fmla="*/ 4034740 w 8009775"/>
              <a:gd name="connsiteY208" fmla="*/ 2167890 h 6858001"/>
              <a:gd name="connsiteX209" fmla="*/ 4031193 w 8009775"/>
              <a:gd name="connsiteY209" fmla="*/ 2162494 h 6858001"/>
              <a:gd name="connsiteX210" fmla="*/ 4027646 w 8009775"/>
              <a:gd name="connsiteY210" fmla="*/ 2157730 h 6858001"/>
              <a:gd name="connsiteX211" fmla="*/ 4023213 w 8009775"/>
              <a:gd name="connsiteY211" fmla="*/ 2153285 h 6858001"/>
              <a:gd name="connsiteX212" fmla="*/ 4018779 w 8009775"/>
              <a:gd name="connsiteY212" fmla="*/ 2148523 h 6858001"/>
              <a:gd name="connsiteX213" fmla="*/ 3632182 w 8009775"/>
              <a:gd name="connsiteY213" fmla="*/ 1761490 h 6858001"/>
              <a:gd name="connsiteX214" fmla="*/ 3435928 w 8009775"/>
              <a:gd name="connsiteY214" fmla="*/ 1565276 h 6858001"/>
              <a:gd name="connsiteX215" fmla="*/ 3431198 w 8009775"/>
              <a:gd name="connsiteY215" fmla="*/ 1560514 h 6858001"/>
              <a:gd name="connsiteX216" fmla="*/ 3427356 w 8009775"/>
              <a:gd name="connsiteY216" fmla="*/ 1555751 h 6858001"/>
              <a:gd name="connsiteX217" fmla="*/ 3423218 w 8009775"/>
              <a:gd name="connsiteY217" fmla="*/ 1550671 h 6858001"/>
              <a:gd name="connsiteX218" fmla="*/ 3420262 w 8009775"/>
              <a:gd name="connsiteY218" fmla="*/ 1545909 h 6858001"/>
              <a:gd name="connsiteX219" fmla="*/ 3417012 w 8009775"/>
              <a:gd name="connsiteY219" fmla="*/ 1540829 h 6858001"/>
              <a:gd name="connsiteX220" fmla="*/ 3413760 w 8009775"/>
              <a:gd name="connsiteY220" fmla="*/ 1535430 h 6858001"/>
              <a:gd name="connsiteX221" fmla="*/ 3411100 w 8009775"/>
              <a:gd name="connsiteY221" fmla="*/ 1530034 h 6858001"/>
              <a:gd name="connsiteX222" fmla="*/ 3408736 w 8009775"/>
              <a:gd name="connsiteY222" fmla="*/ 1524635 h 6858001"/>
              <a:gd name="connsiteX223" fmla="*/ 3406371 w 8009775"/>
              <a:gd name="connsiteY223" fmla="*/ 1518920 h 6858001"/>
              <a:gd name="connsiteX224" fmla="*/ 3404598 w 8009775"/>
              <a:gd name="connsiteY224" fmla="*/ 1513205 h 6858001"/>
              <a:gd name="connsiteX225" fmla="*/ 3403120 w 8009775"/>
              <a:gd name="connsiteY225" fmla="*/ 1507174 h 6858001"/>
              <a:gd name="connsiteX226" fmla="*/ 3401938 w 8009775"/>
              <a:gd name="connsiteY226" fmla="*/ 1501459 h 6858001"/>
              <a:gd name="connsiteX227" fmla="*/ 3401051 w 8009775"/>
              <a:gd name="connsiteY227" fmla="*/ 1495744 h 6858001"/>
              <a:gd name="connsiteX228" fmla="*/ 3400460 w 8009775"/>
              <a:gd name="connsiteY228" fmla="*/ 1489710 h 6858001"/>
              <a:gd name="connsiteX229" fmla="*/ 3399869 w 8009775"/>
              <a:gd name="connsiteY229" fmla="*/ 1483995 h 6858001"/>
              <a:gd name="connsiteX230" fmla="*/ 3399573 w 8009775"/>
              <a:gd name="connsiteY230" fmla="*/ 1478281 h 6858001"/>
              <a:gd name="connsiteX231" fmla="*/ 3399869 w 8009775"/>
              <a:gd name="connsiteY231" fmla="*/ 1472249 h 6858001"/>
              <a:gd name="connsiteX232" fmla="*/ 3400460 w 8009775"/>
              <a:gd name="connsiteY232" fmla="*/ 1466215 h 6858001"/>
              <a:gd name="connsiteX233" fmla="*/ 3401051 w 8009775"/>
              <a:gd name="connsiteY233" fmla="*/ 1460183 h 6858001"/>
              <a:gd name="connsiteX234" fmla="*/ 3401938 w 8009775"/>
              <a:gd name="connsiteY234" fmla="*/ 1454468 h 6858001"/>
              <a:gd name="connsiteX235" fmla="*/ 3403120 w 8009775"/>
              <a:gd name="connsiteY235" fmla="*/ 1448754 h 6858001"/>
              <a:gd name="connsiteX236" fmla="*/ 3404598 w 8009775"/>
              <a:gd name="connsiteY236" fmla="*/ 1443039 h 6858001"/>
              <a:gd name="connsiteX237" fmla="*/ 3406371 w 8009775"/>
              <a:gd name="connsiteY237" fmla="*/ 1437324 h 6858001"/>
              <a:gd name="connsiteX238" fmla="*/ 3408736 w 8009775"/>
              <a:gd name="connsiteY238" fmla="*/ 1431609 h 6858001"/>
              <a:gd name="connsiteX239" fmla="*/ 3411100 w 8009775"/>
              <a:gd name="connsiteY239" fmla="*/ 1426211 h 6858001"/>
              <a:gd name="connsiteX240" fmla="*/ 3413760 w 8009775"/>
              <a:gd name="connsiteY240" fmla="*/ 1420814 h 6858001"/>
              <a:gd name="connsiteX241" fmla="*/ 3417012 w 8009775"/>
              <a:gd name="connsiteY241" fmla="*/ 1415416 h 6858001"/>
              <a:gd name="connsiteX242" fmla="*/ 3420262 w 8009775"/>
              <a:gd name="connsiteY242" fmla="*/ 1410336 h 6858001"/>
              <a:gd name="connsiteX243" fmla="*/ 3423218 w 8009775"/>
              <a:gd name="connsiteY243" fmla="*/ 1405256 h 6858001"/>
              <a:gd name="connsiteX244" fmla="*/ 3427356 w 8009775"/>
              <a:gd name="connsiteY244" fmla="*/ 1400175 h 6858001"/>
              <a:gd name="connsiteX245" fmla="*/ 3431198 w 8009775"/>
              <a:gd name="connsiteY245" fmla="*/ 1395731 h 6858001"/>
              <a:gd name="connsiteX246" fmla="*/ 3435928 w 8009775"/>
              <a:gd name="connsiteY246" fmla="*/ 1390969 h 6858001"/>
              <a:gd name="connsiteX247" fmla="*/ 3440361 w 8009775"/>
              <a:gd name="connsiteY247" fmla="*/ 1386524 h 6858001"/>
              <a:gd name="connsiteX248" fmla="*/ 3445386 w 8009775"/>
              <a:gd name="connsiteY248" fmla="*/ 1382396 h 6858001"/>
              <a:gd name="connsiteX249" fmla="*/ 3449819 w 8009775"/>
              <a:gd name="connsiteY249" fmla="*/ 1378585 h 6858001"/>
              <a:gd name="connsiteX250" fmla="*/ 3454844 w 8009775"/>
              <a:gd name="connsiteY250" fmla="*/ 1375094 h 6858001"/>
              <a:gd name="connsiteX251" fmla="*/ 3460459 w 8009775"/>
              <a:gd name="connsiteY251" fmla="*/ 1371919 h 6858001"/>
              <a:gd name="connsiteX252" fmla="*/ 3465780 w 8009775"/>
              <a:gd name="connsiteY252" fmla="*/ 1369061 h 6858001"/>
              <a:gd name="connsiteX253" fmla="*/ 3471100 w 8009775"/>
              <a:gd name="connsiteY253" fmla="*/ 1366204 h 6858001"/>
              <a:gd name="connsiteX254" fmla="*/ 3476420 w 8009775"/>
              <a:gd name="connsiteY254" fmla="*/ 1363980 h 6858001"/>
              <a:gd name="connsiteX255" fmla="*/ 3482331 w 8009775"/>
              <a:gd name="connsiteY255" fmla="*/ 1361759 h 6858001"/>
              <a:gd name="connsiteX256" fmla="*/ 3487947 w 8009775"/>
              <a:gd name="connsiteY256" fmla="*/ 1360170 h 6858001"/>
              <a:gd name="connsiteX257" fmla="*/ 3493858 w 8009775"/>
              <a:gd name="connsiteY257" fmla="*/ 1358265 h 6858001"/>
              <a:gd name="connsiteX258" fmla="*/ 3499474 w 8009775"/>
              <a:gd name="connsiteY258" fmla="*/ 1357314 h 6858001"/>
              <a:gd name="connsiteX259" fmla="*/ 3505385 w 8009775"/>
              <a:gd name="connsiteY259" fmla="*/ 1356043 h 6858001"/>
              <a:gd name="connsiteX260" fmla="*/ 3511001 w 8009775"/>
              <a:gd name="connsiteY260" fmla="*/ 1355409 h 6858001"/>
              <a:gd name="connsiteX261" fmla="*/ 3517208 w 8009775"/>
              <a:gd name="connsiteY261" fmla="*/ 1355090 h 6858001"/>
              <a:gd name="connsiteX262" fmla="*/ 3522823 w 8009775"/>
              <a:gd name="connsiteY262" fmla="*/ 1354773 h 6858001"/>
              <a:gd name="connsiteX263" fmla="*/ 3529030 w 8009775"/>
              <a:gd name="connsiteY263" fmla="*/ 1355090 h 6858001"/>
              <a:gd name="connsiteX264" fmla="*/ 3534646 w 8009775"/>
              <a:gd name="connsiteY264" fmla="*/ 1355409 h 6858001"/>
              <a:gd name="connsiteX265" fmla="*/ 3540557 w 8009775"/>
              <a:gd name="connsiteY265" fmla="*/ 1356043 h 6858001"/>
              <a:gd name="connsiteX266" fmla="*/ 3546468 w 8009775"/>
              <a:gd name="connsiteY266" fmla="*/ 1357314 h 6858001"/>
              <a:gd name="connsiteX267" fmla="*/ 3552380 w 8009775"/>
              <a:gd name="connsiteY267" fmla="*/ 1358265 h 6858001"/>
              <a:gd name="connsiteX268" fmla="*/ 3557995 w 8009775"/>
              <a:gd name="connsiteY268" fmla="*/ 1360170 h 6858001"/>
              <a:gd name="connsiteX269" fmla="*/ 3563906 w 8009775"/>
              <a:gd name="connsiteY269" fmla="*/ 1361759 h 6858001"/>
              <a:gd name="connsiteX270" fmla="*/ 3569227 w 8009775"/>
              <a:gd name="connsiteY270" fmla="*/ 1363980 h 6858001"/>
              <a:gd name="connsiteX271" fmla="*/ 3574842 w 8009775"/>
              <a:gd name="connsiteY271" fmla="*/ 1366204 h 6858001"/>
              <a:gd name="connsiteX272" fmla="*/ 3580458 w 8009775"/>
              <a:gd name="connsiteY272" fmla="*/ 1369061 h 6858001"/>
              <a:gd name="connsiteX273" fmla="*/ 3585778 w 8009775"/>
              <a:gd name="connsiteY273" fmla="*/ 1371919 h 6858001"/>
              <a:gd name="connsiteX274" fmla="*/ 3590803 w 8009775"/>
              <a:gd name="connsiteY274" fmla="*/ 1375094 h 6858001"/>
              <a:gd name="connsiteX275" fmla="*/ 3595828 w 8009775"/>
              <a:gd name="connsiteY275" fmla="*/ 1378585 h 6858001"/>
              <a:gd name="connsiteX276" fmla="*/ 3600852 w 8009775"/>
              <a:gd name="connsiteY276" fmla="*/ 1382396 h 6858001"/>
              <a:gd name="connsiteX277" fmla="*/ 3605581 w 8009775"/>
              <a:gd name="connsiteY277" fmla="*/ 1386524 h 6858001"/>
              <a:gd name="connsiteX278" fmla="*/ 3610014 w 8009775"/>
              <a:gd name="connsiteY278" fmla="*/ 1390969 h 6858001"/>
              <a:gd name="connsiteX279" fmla="*/ 3817500 w 8009775"/>
              <a:gd name="connsiteY279" fmla="*/ 1598296 h 6858001"/>
              <a:gd name="connsiteX280" fmla="*/ 3821934 w 8009775"/>
              <a:gd name="connsiteY280" fmla="*/ 1602423 h 6858001"/>
              <a:gd name="connsiteX281" fmla="*/ 3826663 w 8009775"/>
              <a:gd name="connsiteY281" fmla="*/ 1606869 h 6858001"/>
              <a:gd name="connsiteX282" fmla="*/ 3831687 w 8009775"/>
              <a:gd name="connsiteY282" fmla="*/ 1610361 h 6858001"/>
              <a:gd name="connsiteX283" fmla="*/ 3836712 w 8009775"/>
              <a:gd name="connsiteY283" fmla="*/ 1613854 h 6858001"/>
              <a:gd name="connsiteX284" fmla="*/ 3841736 w 8009775"/>
              <a:gd name="connsiteY284" fmla="*/ 1617345 h 6858001"/>
              <a:gd name="connsiteX285" fmla="*/ 3847352 w 8009775"/>
              <a:gd name="connsiteY285" fmla="*/ 1620204 h 6858001"/>
              <a:gd name="connsiteX286" fmla="*/ 3852672 w 8009775"/>
              <a:gd name="connsiteY286" fmla="*/ 1623061 h 6858001"/>
              <a:gd name="connsiteX287" fmla="*/ 3857992 w 8009775"/>
              <a:gd name="connsiteY287" fmla="*/ 1625283 h 6858001"/>
              <a:gd name="connsiteX288" fmla="*/ 3863608 w 8009775"/>
              <a:gd name="connsiteY288" fmla="*/ 1627189 h 6858001"/>
              <a:gd name="connsiteX289" fmla="*/ 3869519 w 8009775"/>
              <a:gd name="connsiteY289" fmla="*/ 1629094 h 6858001"/>
              <a:gd name="connsiteX290" fmla="*/ 3875135 w 8009775"/>
              <a:gd name="connsiteY290" fmla="*/ 1630998 h 6858001"/>
              <a:gd name="connsiteX291" fmla="*/ 3881046 w 8009775"/>
              <a:gd name="connsiteY291" fmla="*/ 1631950 h 6858001"/>
              <a:gd name="connsiteX292" fmla="*/ 3886662 w 8009775"/>
              <a:gd name="connsiteY292" fmla="*/ 1632904 h 6858001"/>
              <a:gd name="connsiteX293" fmla="*/ 3892869 w 8009775"/>
              <a:gd name="connsiteY293" fmla="*/ 1633856 h 6858001"/>
              <a:gd name="connsiteX294" fmla="*/ 3898485 w 8009775"/>
              <a:gd name="connsiteY294" fmla="*/ 1634174 h 6858001"/>
              <a:gd name="connsiteX295" fmla="*/ 3904396 w 8009775"/>
              <a:gd name="connsiteY295" fmla="*/ 1634174 h 6858001"/>
              <a:gd name="connsiteX296" fmla="*/ 3910307 w 8009775"/>
              <a:gd name="connsiteY296" fmla="*/ 1634174 h 6858001"/>
              <a:gd name="connsiteX297" fmla="*/ 3916219 w 8009775"/>
              <a:gd name="connsiteY297" fmla="*/ 1633856 h 6858001"/>
              <a:gd name="connsiteX298" fmla="*/ 3922425 w 8009775"/>
              <a:gd name="connsiteY298" fmla="*/ 1632904 h 6858001"/>
              <a:gd name="connsiteX299" fmla="*/ 3928041 w 8009775"/>
              <a:gd name="connsiteY299" fmla="*/ 1631950 h 6858001"/>
              <a:gd name="connsiteX300" fmla="*/ 3933657 w 8009775"/>
              <a:gd name="connsiteY300" fmla="*/ 1630998 h 6858001"/>
              <a:gd name="connsiteX301" fmla="*/ 3939568 w 8009775"/>
              <a:gd name="connsiteY301" fmla="*/ 1629094 h 6858001"/>
              <a:gd name="connsiteX302" fmla="*/ 3945184 w 8009775"/>
              <a:gd name="connsiteY302" fmla="*/ 1627189 h 6858001"/>
              <a:gd name="connsiteX303" fmla="*/ 3950799 w 8009775"/>
              <a:gd name="connsiteY303" fmla="*/ 1625283 h 6858001"/>
              <a:gd name="connsiteX304" fmla="*/ 3956415 w 8009775"/>
              <a:gd name="connsiteY304" fmla="*/ 1623061 h 6858001"/>
              <a:gd name="connsiteX305" fmla="*/ 3961735 w 8009775"/>
              <a:gd name="connsiteY305" fmla="*/ 1620204 h 6858001"/>
              <a:gd name="connsiteX306" fmla="*/ 3967055 w 8009775"/>
              <a:gd name="connsiteY306" fmla="*/ 1617345 h 6858001"/>
              <a:gd name="connsiteX307" fmla="*/ 3972376 w 8009775"/>
              <a:gd name="connsiteY307" fmla="*/ 1613854 h 6858001"/>
              <a:gd name="connsiteX308" fmla="*/ 3977400 w 8009775"/>
              <a:gd name="connsiteY308" fmla="*/ 1610361 h 6858001"/>
              <a:gd name="connsiteX309" fmla="*/ 3982425 w 8009775"/>
              <a:gd name="connsiteY309" fmla="*/ 1606869 h 6858001"/>
              <a:gd name="connsiteX310" fmla="*/ 3986858 w 8009775"/>
              <a:gd name="connsiteY310" fmla="*/ 1602423 h 6858001"/>
              <a:gd name="connsiteX311" fmla="*/ 3991587 w 8009775"/>
              <a:gd name="connsiteY311" fmla="*/ 1598296 h 6858001"/>
              <a:gd name="connsiteX312" fmla="*/ 3996021 w 8009775"/>
              <a:gd name="connsiteY312" fmla="*/ 1593533 h 6858001"/>
              <a:gd name="connsiteX313" fmla="*/ 4000159 w 8009775"/>
              <a:gd name="connsiteY313" fmla="*/ 1588771 h 6858001"/>
              <a:gd name="connsiteX314" fmla="*/ 4003705 w 8009775"/>
              <a:gd name="connsiteY314" fmla="*/ 1583691 h 6858001"/>
              <a:gd name="connsiteX315" fmla="*/ 4007548 w 8009775"/>
              <a:gd name="connsiteY315" fmla="*/ 1578928 h 6858001"/>
              <a:gd name="connsiteX316" fmla="*/ 4010799 w 8009775"/>
              <a:gd name="connsiteY316" fmla="*/ 1573849 h 6858001"/>
              <a:gd name="connsiteX317" fmla="*/ 4013459 w 8009775"/>
              <a:gd name="connsiteY317" fmla="*/ 1568451 h 6858001"/>
              <a:gd name="connsiteX318" fmla="*/ 4016415 w 8009775"/>
              <a:gd name="connsiteY318" fmla="*/ 1563054 h 6858001"/>
              <a:gd name="connsiteX319" fmla="*/ 4018484 w 8009775"/>
              <a:gd name="connsiteY319" fmla="*/ 1557339 h 6858001"/>
              <a:gd name="connsiteX320" fmla="*/ 4020848 w 8009775"/>
              <a:gd name="connsiteY320" fmla="*/ 1551941 h 6858001"/>
              <a:gd name="connsiteX321" fmla="*/ 4022621 w 8009775"/>
              <a:gd name="connsiteY321" fmla="*/ 1546226 h 6858001"/>
              <a:gd name="connsiteX322" fmla="*/ 4024395 w 8009775"/>
              <a:gd name="connsiteY322" fmla="*/ 1540511 h 6858001"/>
              <a:gd name="connsiteX323" fmla="*/ 4025282 w 8009775"/>
              <a:gd name="connsiteY323" fmla="*/ 1534478 h 6858001"/>
              <a:gd name="connsiteX324" fmla="*/ 4026464 w 8009775"/>
              <a:gd name="connsiteY324" fmla="*/ 1528763 h 6858001"/>
              <a:gd name="connsiteX325" fmla="*/ 4027055 w 8009775"/>
              <a:gd name="connsiteY325" fmla="*/ 1522731 h 6858001"/>
              <a:gd name="connsiteX326" fmla="*/ 4027646 w 8009775"/>
              <a:gd name="connsiteY326" fmla="*/ 1517016 h 6858001"/>
              <a:gd name="connsiteX327" fmla="*/ 4027646 w 8009775"/>
              <a:gd name="connsiteY327" fmla="*/ 1510984 h 6858001"/>
              <a:gd name="connsiteX328" fmla="*/ 4027646 w 8009775"/>
              <a:gd name="connsiteY328" fmla="*/ 1505268 h 6858001"/>
              <a:gd name="connsiteX329" fmla="*/ 4027055 w 8009775"/>
              <a:gd name="connsiteY329" fmla="*/ 1499553 h 6858001"/>
              <a:gd name="connsiteX330" fmla="*/ 4026464 w 8009775"/>
              <a:gd name="connsiteY330" fmla="*/ 1493204 h 6858001"/>
              <a:gd name="connsiteX331" fmla="*/ 4025282 w 8009775"/>
              <a:gd name="connsiteY331" fmla="*/ 1487489 h 6858001"/>
              <a:gd name="connsiteX332" fmla="*/ 4024395 w 8009775"/>
              <a:gd name="connsiteY332" fmla="*/ 1481773 h 6858001"/>
              <a:gd name="connsiteX333" fmla="*/ 4022621 w 8009775"/>
              <a:gd name="connsiteY333" fmla="*/ 1476058 h 6858001"/>
              <a:gd name="connsiteX334" fmla="*/ 4020848 w 8009775"/>
              <a:gd name="connsiteY334" fmla="*/ 1470343 h 6858001"/>
              <a:gd name="connsiteX335" fmla="*/ 4018484 w 8009775"/>
              <a:gd name="connsiteY335" fmla="*/ 1464629 h 6858001"/>
              <a:gd name="connsiteX336" fmla="*/ 4016415 w 8009775"/>
              <a:gd name="connsiteY336" fmla="*/ 1459231 h 6858001"/>
              <a:gd name="connsiteX337" fmla="*/ 4013459 w 8009775"/>
              <a:gd name="connsiteY337" fmla="*/ 1453834 h 6858001"/>
              <a:gd name="connsiteX338" fmla="*/ 4010799 w 8009775"/>
              <a:gd name="connsiteY338" fmla="*/ 1448436 h 6858001"/>
              <a:gd name="connsiteX339" fmla="*/ 4007548 w 8009775"/>
              <a:gd name="connsiteY339" fmla="*/ 1443356 h 6858001"/>
              <a:gd name="connsiteX340" fmla="*/ 4003705 w 8009775"/>
              <a:gd name="connsiteY340" fmla="*/ 1438275 h 6858001"/>
              <a:gd name="connsiteX341" fmla="*/ 4000159 w 8009775"/>
              <a:gd name="connsiteY341" fmla="*/ 1433195 h 6858001"/>
              <a:gd name="connsiteX342" fmla="*/ 3996021 w 8009775"/>
              <a:gd name="connsiteY342" fmla="*/ 1428751 h 6858001"/>
              <a:gd name="connsiteX343" fmla="*/ 3991587 w 8009775"/>
              <a:gd name="connsiteY343" fmla="*/ 1423988 h 6858001"/>
              <a:gd name="connsiteX344" fmla="*/ 3323022 w 8009775"/>
              <a:gd name="connsiteY344" fmla="*/ 755333 h 6858001"/>
              <a:gd name="connsiteX345" fmla="*/ 3316815 w 8009775"/>
              <a:gd name="connsiteY345" fmla="*/ 748348 h 6858001"/>
              <a:gd name="connsiteX346" fmla="*/ 3310904 w 8009775"/>
              <a:gd name="connsiteY346" fmla="*/ 741045 h 6858001"/>
              <a:gd name="connsiteX347" fmla="*/ 3305584 w 8009775"/>
              <a:gd name="connsiteY347" fmla="*/ 733108 h 6858001"/>
              <a:gd name="connsiteX348" fmla="*/ 3300855 w 8009775"/>
              <a:gd name="connsiteY348" fmla="*/ 725170 h 6858001"/>
              <a:gd name="connsiteX349" fmla="*/ 3297308 w 8009775"/>
              <a:gd name="connsiteY349" fmla="*/ 716915 h 6858001"/>
              <a:gd name="connsiteX350" fmla="*/ 3293761 w 8009775"/>
              <a:gd name="connsiteY350" fmla="*/ 708660 h 6858001"/>
              <a:gd name="connsiteX351" fmla="*/ 3291101 w 8009775"/>
              <a:gd name="connsiteY351" fmla="*/ 699770 h 6858001"/>
              <a:gd name="connsiteX352" fmla="*/ 3289328 w 8009775"/>
              <a:gd name="connsiteY352" fmla="*/ 691198 h 6858001"/>
              <a:gd name="connsiteX353" fmla="*/ 2596527 w 8009775"/>
              <a:gd name="connsiteY353" fmla="*/ 0 h 6858001"/>
              <a:gd name="connsiteX0" fmla="*/ 2596527 w 8009775"/>
              <a:gd name="connsiteY0" fmla="*/ 0 h 6858001"/>
              <a:gd name="connsiteX1" fmla="*/ 2165004 w 8009775"/>
              <a:gd name="connsiteY1" fmla="*/ 0 h 6858001"/>
              <a:gd name="connsiteX2" fmla="*/ 3265978 w 8009775"/>
              <a:gd name="connsiteY2" fmla="*/ 1101091 h 6858001"/>
              <a:gd name="connsiteX3" fmla="*/ 3270708 w 8009775"/>
              <a:gd name="connsiteY3" fmla="*/ 1105854 h 6858001"/>
              <a:gd name="connsiteX4" fmla="*/ 3274550 w 8009775"/>
              <a:gd name="connsiteY4" fmla="*/ 1110615 h 6858001"/>
              <a:gd name="connsiteX5" fmla="*/ 3278688 w 8009775"/>
              <a:gd name="connsiteY5" fmla="*/ 1115696 h 6858001"/>
              <a:gd name="connsiteX6" fmla="*/ 3282234 w 8009775"/>
              <a:gd name="connsiteY6" fmla="*/ 1120776 h 6858001"/>
              <a:gd name="connsiteX7" fmla="*/ 3285486 w 8009775"/>
              <a:gd name="connsiteY7" fmla="*/ 1126174 h 6858001"/>
              <a:gd name="connsiteX8" fmla="*/ 3288146 w 8009775"/>
              <a:gd name="connsiteY8" fmla="*/ 1131570 h 6858001"/>
              <a:gd name="connsiteX9" fmla="*/ 3291101 w 8009775"/>
              <a:gd name="connsiteY9" fmla="*/ 1136968 h 6858001"/>
              <a:gd name="connsiteX10" fmla="*/ 3293761 w 8009775"/>
              <a:gd name="connsiteY10" fmla="*/ 1142366 h 6858001"/>
              <a:gd name="connsiteX11" fmla="*/ 3295830 w 8009775"/>
              <a:gd name="connsiteY11" fmla="*/ 1148081 h 6858001"/>
              <a:gd name="connsiteX12" fmla="*/ 3297604 w 8009775"/>
              <a:gd name="connsiteY12" fmla="*/ 1153796 h 6858001"/>
              <a:gd name="connsiteX13" fmla="*/ 3299082 w 8009775"/>
              <a:gd name="connsiteY13" fmla="*/ 1159829 h 6858001"/>
              <a:gd name="connsiteX14" fmla="*/ 3300559 w 8009775"/>
              <a:gd name="connsiteY14" fmla="*/ 1165544 h 6858001"/>
              <a:gd name="connsiteX15" fmla="*/ 3301446 w 8009775"/>
              <a:gd name="connsiteY15" fmla="*/ 1171893 h 6858001"/>
              <a:gd name="connsiteX16" fmla="*/ 3302333 w 8009775"/>
              <a:gd name="connsiteY16" fmla="*/ 1177608 h 6858001"/>
              <a:gd name="connsiteX17" fmla="*/ 3302628 w 8009775"/>
              <a:gd name="connsiteY17" fmla="*/ 1183641 h 6858001"/>
              <a:gd name="connsiteX18" fmla="*/ 3302628 w 8009775"/>
              <a:gd name="connsiteY18" fmla="*/ 1189356 h 6858001"/>
              <a:gd name="connsiteX19" fmla="*/ 3302628 w 8009775"/>
              <a:gd name="connsiteY19" fmla="*/ 1195388 h 6858001"/>
              <a:gd name="connsiteX20" fmla="*/ 3302333 w 8009775"/>
              <a:gd name="connsiteY20" fmla="*/ 1201739 h 6858001"/>
              <a:gd name="connsiteX21" fmla="*/ 3301446 w 8009775"/>
              <a:gd name="connsiteY21" fmla="*/ 1207454 h 6858001"/>
              <a:gd name="connsiteX22" fmla="*/ 3300559 w 8009775"/>
              <a:gd name="connsiteY22" fmla="*/ 1213486 h 6858001"/>
              <a:gd name="connsiteX23" fmla="*/ 3299082 w 8009775"/>
              <a:gd name="connsiteY23" fmla="*/ 1219200 h 6858001"/>
              <a:gd name="connsiteX24" fmla="*/ 3297604 w 8009775"/>
              <a:gd name="connsiteY24" fmla="*/ 1225233 h 6858001"/>
              <a:gd name="connsiteX25" fmla="*/ 3295830 w 8009775"/>
              <a:gd name="connsiteY25" fmla="*/ 1230949 h 6858001"/>
              <a:gd name="connsiteX26" fmla="*/ 3293761 w 8009775"/>
              <a:gd name="connsiteY26" fmla="*/ 1236346 h 6858001"/>
              <a:gd name="connsiteX27" fmla="*/ 3291101 w 8009775"/>
              <a:gd name="connsiteY27" fmla="*/ 1242061 h 6858001"/>
              <a:gd name="connsiteX28" fmla="*/ 3288146 w 8009775"/>
              <a:gd name="connsiteY28" fmla="*/ 1247459 h 6858001"/>
              <a:gd name="connsiteX29" fmla="*/ 3285486 w 8009775"/>
              <a:gd name="connsiteY29" fmla="*/ 1252855 h 6858001"/>
              <a:gd name="connsiteX30" fmla="*/ 3282234 w 8009775"/>
              <a:gd name="connsiteY30" fmla="*/ 1258254 h 6858001"/>
              <a:gd name="connsiteX31" fmla="*/ 3278688 w 8009775"/>
              <a:gd name="connsiteY31" fmla="*/ 1263333 h 6858001"/>
              <a:gd name="connsiteX32" fmla="*/ 3274550 w 8009775"/>
              <a:gd name="connsiteY32" fmla="*/ 1268413 h 6858001"/>
              <a:gd name="connsiteX33" fmla="*/ 3270708 w 8009775"/>
              <a:gd name="connsiteY33" fmla="*/ 1273494 h 6858001"/>
              <a:gd name="connsiteX34" fmla="*/ 3265978 w 8009775"/>
              <a:gd name="connsiteY34" fmla="*/ 1278255 h 6858001"/>
              <a:gd name="connsiteX35" fmla="*/ 3261249 w 8009775"/>
              <a:gd name="connsiteY35" fmla="*/ 1282384 h 6858001"/>
              <a:gd name="connsiteX36" fmla="*/ 3256816 w 8009775"/>
              <a:gd name="connsiteY36" fmla="*/ 1286510 h 6858001"/>
              <a:gd name="connsiteX37" fmla="*/ 3251791 w 8009775"/>
              <a:gd name="connsiteY37" fmla="*/ 1290321 h 6858001"/>
              <a:gd name="connsiteX38" fmla="*/ 3246767 w 8009775"/>
              <a:gd name="connsiteY38" fmla="*/ 1293814 h 6858001"/>
              <a:gd name="connsiteX39" fmla="*/ 3241151 w 8009775"/>
              <a:gd name="connsiteY39" fmla="*/ 1297306 h 6858001"/>
              <a:gd name="connsiteX40" fmla="*/ 3235831 w 8009775"/>
              <a:gd name="connsiteY40" fmla="*/ 1300481 h 6858001"/>
              <a:gd name="connsiteX41" fmla="*/ 3230511 w 8009775"/>
              <a:gd name="connsiteY41" fmla="*/ 1303021 h 6858001"/>
              <a:gd name="connsiteX42" fmla="*/ 3224600 w 8009775"/>
              <a:gd name="connsiteY42" fmla="*/ 1305560 h 6858001"/>
              <a:gd name="connsiteX43" fmla="*/ 3218984 w 8009775"/>
              <a:gd name="connsiteY43" fmla="*/ 1307465 h 6858001"/>
              <a:gd name="connsiteX44" fmla="*/ 3213072 w 8009775"/>
              <a:gd name="connsiteY44" fmla="*/ 1309371 h 6858001"/>
              <a:gd name="connsiteX45" fmla="*/ 3207457 w 8009775"/>
              <a:gd name="connsiteY45" fmla="*/ 1311275 h 6858001"/>
              <a:gd name="connsiteX46" fmla="*/ 3201841 w 8009775"/>
              <a:gd name="connsiteY46" fmla="*/ 1312228 h 6858001"/>
              <a:gd name="connsiteX47" fmla="*/ 3195634 w 8009775"/>
              <a:gd name="connsiteY47" fmla="*/ 1313180 h 6858001"/>
              <a:gd name="connsiteX48" fmla="*/ 3189428 w 8009775"/>
              <a:gd name="connsiteY48" fmla="*/ 1314133 h 6858001"/>
              <a:gd name="connsiteX49" fmla="*/ 3183812 w 8009775"/>
              <a:gd name="connsiteY49" fmla="*/ 1314450 h 6858001"/>
              <a:gd name="connsiteX50" fmla="*/ 3177605 w 8009775"/>
              <a:gd name="connsiteY50" fmla="*/ 1314769 h 6858001"/>
              <a:gd name="connsiteX51" fmla="*/ 3171694 w 8009775"/>
              <a:gd name="connsiteY51" fmla="*/ 1314450 h 6858001"/>
              <a:gd name="connsiteX52" fmla="*/ 3165782 w 8009775"/>
              <a:gd name="connsiteY52" fmla="*/ 1314133 h 6858001"/>
              <a:gd name="connsiteX53" fmla="*/ 3159576 w 8009775"/>
              <a:gd name="connsiteY53" fmla="*/ 1313180 h 6858001"/>
              <a:gd name="connsiteX54" fmla="*/ 3153960 w 8009775"/>
              <a:gd name="connsiteY54" fmla="*/ 1312228 h 6858001"/>
              <a:gd name="connsiteX55" fmla="*/ 3147753 w 8009775"/>
              <a:gd name="connsiteY55" fmla="*/ 1311275 h 6858001"/>
              <a:gd name="connsiteX56" fmla="*/ 3142137 w 8009775"/>
              <a:gd name="connsiteY56" fmla="*/ 1309371 h 6858001"/>
              <a:gd name="connsiteX57" fmla="*/ 3136226 w 8009775"/>
              <a:gd name="connsiteY57" fmla="*/ 1307465 h 6858001"/>
              <a:gd name="connsiteX58" fmla="*/ 3130610 w 8009775"/>
              <a:gd name="connsiteY58" fmla="*/ 1305560 h 6858001"/>
              <a:gd name="connsiteX59" fmla="*/ 3124994 w 8009775"/>
              <a:gd name="connsiteY59" fmla="*/ 1303021 h 6858001"/>
              <a:gd name="connsiteX60" fmla="*/ 3119379 w 8009775"/>
              <a:gd name="connsiteY60" fmla="*/ 1300481 h 6858001"/>
              <a:gd name="connsiteX61" fmla="*/ 3114059 w 8009775"/>
              <a:gd name="connsiteY61" fmla="*/ 1297306 h 6858001"/>
              <a:gd name="connsiteX62" fmla="*/ 3109034 w 8009775"/>
              <a:gd name="connsiteY62" fmla="*/ 1293814 h 6858001"/>
              <a:gd name="connsiteX63" fmla="*/ 3103714 w 8009775"/>
              <a:gd name="connsiteY63" fmla="*/ 1290321 h 6858001"/>
              <a:gd name="connsiteX64" fmla="*/ 3098689 w 8009775"/>
              <a:gd name="connsiteY64" fmla="*/ 1286510 h 6858001"/>
              <a:gd name="connsiteX65" fmla="*/ 3093960 w 8009775"/>
              <a:gd name="connsiteY65" fmla="*/ 1282384 h 6858001"/>
              <a:gd name="connsiteX66" fmla="*/ 3089231 w 8009775"/>
              <a:gd name="connsiteY66" fmla="*/ 1278255 h 6858001"/>
              <a:gd name="connsiteX67" fmla="*/ 1811214 w 8009775"/>
              <a:gd name="connsiteY67" fmla="*/ 0 h 6858001"/>
              <a:gd name="connsiteX68" fmla="*/ 551808 w 8009775"/>
              <a:gd name="connsiteY68" fmla="*/ 0 h 6858001"/>
              <a:gd name="connsiteX69" fmla="*/ 408933 w 8009775"/>
              <a:gd name="connsiteY69" fmla="*/ 0 h 6858001"/>
              <a:gd name="connsiteX70" fmla="*/ 55488 w 8009775"/>
              <a:gd name="connsiteY70" fmla="*/ 0 h 6858001"/>
              <a:gd name="connsiteX71" fmla="*/ 0 w 8009775"/>
              <a:gd name="connsiteY71" fmla="*/ 0 h 6858001"/>
              <a:gd name="connsiteX72" fmla="*/ 0 w 8009775"/>
              <a:gd name="connsiteY72" fmla="*/ 6858000 h 6858001"/>
              <a:gd name="connsiteX73" fmla="*/ 7364776 w 8009775"/>
              <a:gd name="connsiteY73" fmla="*/ 6858001 h 6858001"/>
              <a:gd name="connsiteX74" fmla="*/ 7507651 w 8009775"/>
              <a:gd name="connsiteY74" fmla="*/ 6858001 h 6858001"/>
              <a:gd name="connsiteX75" fmla="*/ 7507650 w 8009775"/>
              <a:gd name="connsiteY75" fmla="*/ 6858000 h 6858001"/>
              <a:gd name="connsiteX76" fmla="*/ 8009775 w 8009775"/>
              <a:gd name="connsiteY76" fmla="*/ 6858000 h 6858001"/>
              <a:gd name="connsiteX77" fmla="*/ 3996316 w 8009775"/>
              <a:gd name="connsiteY77" fmla="*/ 2818448 h 6858001"/>
              <a:gd name="connsiteX78" fmla="*/ 3980947 w 8009775"/>
              <a:gd name="connsiteY78" fmla="*/ 2804795 h 6858001"/>
              <a:gd name="connsiteX79" fmla="*/ 3965282 w 8009775"/>
              <a:gd name="connsiteY79" fmla="*/ 2791144 h 6858001"/>
              <a:gd name="connsiteX80" fmla="*/ 3950799 w 8009775"/>
              <a:gd name="connsiteY80" fmla="*/ 2776856 h 6858001"/>
              <a:gd name="connsiteX81" fmla="*/ 3936021 w 8009775"/>
              <a:gd name="connsiteY81" fmla="*/ 2762568 h 6858001"/>
              <a:gd name="connsiteX82" fmla="*/ 3001744 w 8009775"/>
              <a:gd name="connsiteY82" fmla="*/ 1828166 h 6858001"/>
              <a:gd name="connsiteX83" fmla="*/ 2997311 w 8009775"/>
              <a:gd name="connsiteY83" fmla="*/ 1823404 h 6858001"/>
              <a:gd name="connsiteX84" fmla="*/ 2992878 w 8009775"/>
              <a:gd name="connsiteY84" fmla="*/ 1818640 h 6858001"/>
              <a:gd name="connsiteX85" fmla="*/ 2989331 w 8009775"/>
              <a:gd name="connsiteY85" fmla="*/ 1814195 h 6858001"/>
              <a:gd name="connsiteX86" fmla="*/ 2985784 w 8009775"/>
              <a:gd name="connsiteY86" fmla="*/ 1808799 h 6858001"/>
              <a:gd name="connsiteX87" fmla="*/ 2982533 w 8009775"/>
              <a:gd name="connsiteY87" fmla="*/ 1803718 h 6858001"/>
              <a:gd name="connsiteX88" fmla="*/ 2979873 w 8009775"/>
              <a:gd name="connsiteY88" fmla="*/ 1798321 h 6858001"/>
              <a:gd name="connsiteX89" fmla="*/ 2976917 w 8009775"/>
              <a:gd name="connsiteY89" fmla="*/ 1792924 h 6858001"/>
              <a:gd name="connsiteX90" fmla="*/ 2974552 w 8009775"/>
              <a:gd name="connsiteY90" fmla="*/ 1787526 h 6858001"/>
              <a:gd name="connsiteX91" fmla="*/ 2972484 w 8009775"/>
              <a:gd name="connsiteY91" fmla="*/ 1781811 h 6858001"/>
              <a:gd name="connsiteX92" fmla="*/ 2970710 w 8009775"/>
              <a:gd name="connsiteY92" fmla="*/ 1776095 h 6858001"/>
              <a:gd name="connsiteX93" fmla="*/ 2968937 w 8009775"/>
              <a:gd name="connsiteY93" fmla="*/ 1770380 h 6858001"/>
              <a:gd name="connsiteX94" fmla="*/ 2967755 w 8009775"/>
              <a:gd name="connsiteY94" fmla="*/ 1764665 h 6858001"/>
              <a:gd name="connsiteX95" fmla="*/ 2966868 w 8009775"/>
              <a:gd name="connsiteY95" fmla="*/ 1758634 h 6858001"/>
              <a:gd name="connsiteX96" fmla="*/ 2965981 w 8009775"/>
              <a:gd name="connsiteY96" fmla="*/ 1752919 h 6858001"/>
              <a:gd name="connsiteX97" fmla="*/ 2965686 w 8009775"/>
              <a:gd name="connsiteY97" fmla="*/ 1746885 h 6858001"/>
              <a:gd name="connsiteX98" fmla="*/ 2965686 w 8009775"/>
              <a:gd name="connsiteY98" fmla="*/ 1741170 h 6858001"/>
              <a:gd name="connsiteX99" fmla="*/ 2965686 w 8009775"/>
              <a:gd name="connsiteY99" fmla="*/ 1735139 h 6858001"/>
              <a:gd name="connsiteX100" fmla="*/ 2965981 w 8009775"/>
              <a:gd name="connsiteY100" fmla="*/ 1729424 h 6858001"/>
              <a:gd name="connsiteX101" fmla="*/ 2966868 w 8009775"/>
              <a:gd name="connsiteY101" fmla="*/ 1723074 h 6858001"/>
              <a:gd name="connsiteX102" fmla="*/ 2967755 w 8009775"/>
              <a:gd name="connsiteY102" fmla="*/ 1717358 h 6858001"/>
              <a:gd name="connsiteX103" fmla="*/ 2968937 w 8009775"/>
              <a:gd name="connsiteY103" fmla="*/ 1711643 h 6858001"/>
              <a:gd name="connsiteX104" fmla="*/ 2970710 w 8009775"/>
              <a:gd name="connsiteY104" fmla="*/ 1705929 h 6858001"/>
              <a:gd name="connsiteX105" fmla="*/ 2972484 w 8009775"/>
              <a:gd name="connsiteY105" fmla="*/ 1700214 h 6858001"/>
              <a:gd name="connsiteX106" fmla="*/ 2974552 w 8009775"/>
              <a:gd name="connsiteY106" fmla="*/ 1694816 h 6858001"/>
              <a:gd name="connsiteX107" fmla="*/ 2976917 w 8009775"/>
              <a:gd name="connsiteY107" fmla="*/ 1689101 h 6858001"/>
              <a:gd name="connsiteX108" fmla="*/ 2979873 w 8009775"/>
              <a:gd name="connsiteY108" fmla="*/ 1683703 h 6858001"/>
              <a:gd name="connsiteX109" fmla="*/ 2982533 w 8009775"/>
              <a:gd name="connsiteY109" fmla="*/ 1678305 h 6858001"/>
              <a:gd name="connsiteX110" fmla="*/ 2985784 w 8009775"/>
              <a:gd name="connsiteY110" fmla="*/ 1673226 h 6858001"/>
              <a:gd name="connsiteX111" fmla="*/ 2989331 w 8009775"/>
              <a:gd name="connsiteY111" fmla="*/ 1668145 h 6858001"/>
              <a:gd name="connsiteX112" fmla="*/ 2992878 w 8009775"/>
              <a:gd name="connsiteY112" fmla="*/ 1663066 h 6858001"/>
              <a:gd name="connsiteX113" fmla="*/ 2997311 w 8009775"/>
              <a:gd name="connsiteY113" fmla="*/ 1658621 h 6858001"/>
              <a:gd name="connsiteX114" fmla="*/ 3001744 w 8009775"/>
              <a:gd name="connsiteY114" fmla="*/ 1653859 h 6858001"/>
              <a:gd name="connsiteX115" fmla="*/ 3006178 w 8009775"/>
              <a:gd name="connsiteY115" fmla="*/ 1649414 h 6858001"/>
              <a:gd name="connsiteX116" fmla="*/ 3010907 w 8009775"/>
              <a:gd name="connsiteY116" fmla="*/ 1645603 h 6858001"/>
              <a:gd name="connsiteX117" fmla="*/ 3015932 w 8009775"/>
              <a:gd name="connsiteY117" fmla="*/ 1641794 h 6858001"/>
              <a:gd name="connsiteX118" fmla="*/ 3020956 w 8009775"/>
              <a:gd name="connsiteY118" fmla="*/ 1637984 h 6858001"/>
              <a:gd name="connsiteX119" fmla="*/ 3025981 w 8009775"/>
              <a:gd name="connsiteY119" fmla="*/ 1634809 h 6858001"/>
              <a:gd name="connsiteX120" fmla="*/ 3031596 w 8009775"/>
              <a:gd name="connsiteY120" fmla="*/ 1631950 h 6858001"/>
              <a:gd name="connsiteX121" fmla="*/ 3036916 w 8009775"/>
              <a:gd name="connsiteY121" fmla="*/ 1629094 h 6858001"/>
              <a:gd name="connsiteX122" fmla="*/ 3042532 w 8009775"/>
              <a:gd name="connsiteY122" fmla="*/ 1626871 h 6858001"/>
              <a:gd name="connsiteX123" fmla="*/ 3047852 w 8009775"/>
              <a:gd name="connsiteY123" fmla="*/ 1624649 h 6858001"/>
              <a:gd name="connsiteX124" fmla="*/ 3053764 w 8009775"/>
              <a:gd name="connsiteY124" fmla="*/ 1623061 h 6858001"/>
              <a:gd name="connsiteX125" fmla="*/ 3059379 w 8009775"/>
              <a:gd name="connsiteY125" fmla="*/ 1621155 h 6858001"/>
              <a:gd name="connsiteX126" fmla="*/ 3065291 w 8009775"/>
              <a:gd name="connsiteY126" fmla="*/ 1620204 h 6858001"/>
              <a:gd name="connsiteX127" fmla="*/ 3070906 w 8009775"/>
              <a:gd name="connsiteY127" fmla="*/ 1618934 h 6858001"/>
              <a:gd name="connsiteX128" fmla="*/ 3077113 w 8009775"/>
              <a:gd name="connsiteY128" fmla="*/ 1618299 h 6858001"/>
              <a:gd name="connsiteX129" fmla="*/ 3082729 w 8009775"/>
              <a:gd name="connsiteY129" fmla="*/ 1617981 h 6858001"/>
              <a:gd name="connsiteX130" fmla="*/ 3088936 w 8009775"/>
              <a:gd name="connsiteY130" fmla="*/ 1617981 h 6858001"/>
              <a:gd name="connsiteX131" fmla="*/ 3094552 w 8009775"/>
              <a:gd name="connsiteY131" fmla="*/ 1617981 h 6858001"/>
              <a:gd name="connsiteX132" fmla="*/ 3100758 w 8009775"/>
              <a:gd name="connsiteY132" fmla="*/ 1618299 h 6858001"/>
              <a:gd name="connsiteX133" fmla="*/ 3106670 w 8009775"/>
              <a:gd name="connsiteY133" fmla="*/ 1618934 h 6858001"/>
              <a:gd name="connsiteX134" fmla="*/ 3112285 w 8009775"/>
              <a:gd name="connsiteY134" fmla="*/ 1620204 h 6858001"/>
              <a:gd name="connsiteX135" fmla="*/ 3117901 w 8009775"/>
              <a:gd name="connsiteY135" fmla="*/ 1621155 h 6858001"/>
              <a:gd name="connsiteX136" fmla="*/ 3123812 w 8009775"/>
              <a:gd name="connsiteY136" fmla="*/ 1623061 h 6858001"/>
              <a:gd name="connsiteX137" fmla="*/ 3129428 w 8009775"/>
              <a:gd name="connsiteY137" fmla="*/ 1624649 h 6858001"/>
              <a:gd name="connsiteX138" fmla="*/ 3135339 w 8009775"/>
              <a:gd name="connsiteY138" fmla="*/ 1626871 h 6858001"/>
              <a:gd name="connsiteX139" fmla="*/ 3140660 w 8009775"/>
              <a:gd name="connsiteY139" fmla="*/ 1629094 h 6858001"/>
              <a:gd name="connsiteX140" fmla="*/ 3145980 w 8009775"/>
              <a:gd name="connsiteY140" fmla="*/ 1631950 h 6858001"/>
              <a:gd name="connsiteX141" fmla="*/ 3151300 w 8009775"/>
              <a:gd name="connsiteY141" fmla="*/ 1634809 h 6858001"/>
              <a:gd name="connsiteX142" fmla="*/ 3156324 w 8009775"/>
              <a:gd name="connsiteY142" fmla="*/ 1637984 h 6858001"/>
              <a:gd name="connsiteX143" fmla="*/ 3161349 w 8009775"/>
              <a:gd name="connsiteY143" fmla="*/ 1641794 h 6858001"/>
              <a:gd name="connsiteX144" fmla="*/ 3166374 w 8009775"/>
              <a:gd name="connsiteY144" fmla="*/ 1645603 h 6858001"/>
              <a:gd name="connsiteX145" fmla="*/ 3171102 w 8009775"/>
              <a:gd name="connsiteY145" fmla="*/ 1649414 h 6858001"/>
              <a:gd name="connsiteX146" fmla="*/ 3175832 w 8009775"/>
              <a:gd name="connsiteY146" fmla="*/ 1653859 h 6858001"/>
              <a:gd name="connsiteX147" fmla="*/ 3844692 w 8009775"/>
              <a:gd name="connsiteY147" fmla="*/ 2322830 h 6858001"/>
              <a:gd name="connsiteX148" fmla="*/ 3849421 w 8009775"/>
              <a:gd name="connsiteY148" fmla="*/ 2326958 h 6858001"/>
              <a:gd name="connsiteX149" fmla="*/ 3854150 w 8009775"/>
              <a:gd name="connsiteY149" fmla="*/ 2331085 h 6858001"/>
              <a:gd name="connsiteX150" fmla="*/ 3859175 w 8009775"/>
              <a:gd name="connsiteY150" fmla="*/ 2334895 h 6858001"/>
              <a:gd name="connsiteX151" fmla="*/ 3864199 w 8009775"/>
              <a:gd name="connsiteY151" fmla="*/ 2338705 h 6858001"/>
              <a:gd name="connsiteX152" fmla="*/ 3869224 w 8009775"/>
              <a:gd name="connsiteY152" fmla="*/ 2341880 h 6858001"/>
              <a:gd name="connsiteX153" fmla="*/ 3874544 w 8009775"/>
              <a:gd name="connsiteY153" fmla="*/ 2344738 h 6858001"/>
              <a:gd name="connsiteX154" fmla="*/ 3879864 w 8009775"/>
              <a:gd name="connsiteY154" fmla="*/ 2347595 h 6858001"/>
              <a:gd name="connsiteX155" fmla="*/ 3885775 w 8009775"/>
              <a:gd name="connsiteY155" fmla="*/ 2349818 h 6858001"/>
              <a:gd name="connsiteX156" fmla="*/ 3891096 w 8009775"/>
              <a:gd name="connsiteY156" fmla="*/ 2351723 h 6858001"/>
              <a:gd name="connsiteX157" fmla="*/ 3896711 w 8009775"/>
              <a:gd name="connsiteY157" fmla="*/ 2353628 h 6858001"/>
              <a:gd name="connsiteX158" fmla="*/ 3902623 w 8009775"/>
              <a:gd name="connsiteY158" fmla="*/ 2355534 h 6858001"/>
              <a:gd name="connsiteX159" fmla="*/ 3908238 w 8009775"/>
              <a:gd name="connsiteY159" fmla="*/ 2356485 h 6858001"/>
              <a:gd name="connsiteX160" fmla="*/ 3914150 w 8009775"/>
              <a:gd name="connsiteY160" fmla="*/ 2357755 h 6858001"/>
              <a:gd name="connsiteX161" fmla="*/ 3920061 w 8009775"/>
              <a:gd name="connsiteY161" fmla="*/ 2358391 h 6858001"/>
              <a:gd name="connsiteX162" fmla="*/ 3925972 w 8009775"/>
              <a:gd name="connsiteY162" fmla="*/ 2358708 h 6858001"/>
              <a:gd name="connsiteX163" fmla="*/ 3931883 w 8009775"/>
              <a:gd name="connsiteY163" fmla="*/ 2358708 h 6858001"/>
              <a:gd name="connsiteX164" fmla="*/ 3937795 w 8009775"/>
              <a:gd name="connsiteY164" fmla="*/ 2358708 h 6858001"/>
              <a:gd name="connsiteX165" fmla="*/ 3943706 w 8009775"/>
              <a:gd name="connsiteY165" fmla="*/ 2358391 h 6858001"/>
              <a:gd name="connsiteX166" fmla="*/ 3949617 w 8009775"/>
              <a:gd name="connsiteY166" fmla="*/ 2357755 h 6858001"/>
              <a:gd name="connsiteX167" fmla="*/ 3955233 w 8009775"/>
              <a:gd name="connsiteY167" fmla="*/ 2356485 h 6858001"/>
              <a:gd name="connsiteX168" fmla="*/ 3961144 w 8009775"/>
              <a:gd name="connsiteY168" fmla="*/ 2355534 h 6858001"/>
              <a:gd name="connsiteX169" fmla="*/ 3966760 w 8009775"/>
              <a:gd name="connsiteY169" fmla="*/ 2353628 h 6858001"/>
              <a:gd name="connsiteX170" fmla="*/ 3972671 w 8009775"/>
              <a:gd name="connsiteY170" fmla="*/ 2351723 h 6858001"/>
              <a:gd name="connsiteX171" fmla="*/ 3978287 w 8009775"/>
              <a:gd name="connsiteY171" fmla="*/ 2349818 h 6858001"/>
              <a:gd name="connsiteX172" fmla="*/ 3983607 w 8009775"/>
              <a:gd name="connsiteY172" fmla="*/ 2347595 h 6858001"/>
              <a:gd name="connsiteX173" fmla="*/ 3989223 w 8009775"/>
              <a:gd name="connsiteY173" fmla="*/ 2344738 h 6858001"/>
              <a:gd name="connsiteX174" fmla="*/ 3994543 w 8009775"/>
              <a:gd name="connsiteY174" fmla="*/ 2341880 h 6858001"/>
              <a:gd name="connsiteX175" fmla="*/ 3999567 w 8009775"/>
              <a:gd name="connsiteY175" fmla="*/ 2338705 h 6858001"/>
              <a:gd name="connsiteX176" fmla="*/ 4004888 w 8009775"/>
              <a:gd name="connsiteY176" fmla="*/ 2334895 h 6858001"/>
              <a:gd name="connsiteX177" fmla="*/ 4009617 w 8009775"/>
              <a:gd name="connsiteY177" fmla="*/ 2331085 h 6858001"/>
              <a:gd name="connsiteX178" fmla="*/ 4014346 w 8009775"/>
              <a:gd name="connsiteY178" fmla="*/ 2326958 h 6858001"/>
              <a:gd name="connsiteX179" fmla="*/ 4018779 w 8009775"/>
              <a:gd name="connsiteY179" fmla="*/ 2322830 h 6858001"/>
              <a:gd name="connsiteX180" fmla="*/ 4023213 w 8009775"/>
              <a:gd name="connsiteY180" fmla="*/ 2318068 h 6858001"/>
              <a:gd name="connsiteX181" fmla="*/ 4027646 w 8009775"/>
              <a:gd name="connsiteY181" fmla="*/ 2313306 h 6858001"/>
              <a:gd name="connsiteX182" fmla="*/ 4031193 w 8009775"/>
              <a:gd name="connsiteY182" fmla="*/ 2308544 h 6858001"/>
              <a:gd name="connsiteX183" fmla="*/ 4034740 w 8009775"/>
              <a:gd name="connsiteY183" fmla="*/ 2303463 h 6858001"/>
              <a:gd name="connsiteX184" fmla="*/ 4037991 w 8009775"/>
              <a:gd name="connsiteY184" fmla="*/ 2298384 h 6858001"/>
              <a:gd name="connsiteX185" fmla="*/ 4040946 w 8009775"/>
              <a:gd name="connsiteY185" fmla="*/ 2292985 h 6858001"/>
              <a:gd name="connsiteX186" fmla="*/ 4043606 w 8009775"/>
              <a:gd name="connsiteY186" fmla="*/ 2287588 h 6858001"/>
              <a:gd name="connsiteX187" fmla="*/ 4046267 w 8009775"/>
              <a:gd name="connsiteY187" fmla="*/ 2281873 h 6858001"/>
              <a:gd name="connsiteX188" fmla="*/ 4048040 w 8009775"/>
              <a:gd name="connsiteY188" fmla="*/ 2276476 h 6858001"/>
              <a:gd name="connsiteX189" fmla="*/ 4050109 w 8009775"/>
              <a:gd name="connsiteY189" fmla="*/ 2270761 h 6858001"/>
              <a:gd name="connsiteX190" fmla="*/ 4051587 w 8009775"/>
              <a:gd name="connsiteY190" fmla="*/ 2265046 h 6858001"/>
              <a:gd name="connsiteX191" fmla="*/ 4052769 w 8009775"/>
              <a:gd name="connsiteY191" fmla="*/ 2259331 h 6858001"/>
              <a:gd name="connsiteX192" fmla="*/ 4053656 w 8009775"/>
              <a:gd name="connsiteY192" fmla="*/ 2253298 h 6858001"/>
              <a:gd name="connsiteX193" fmla="*/ 4054542 w 8009775"/>
              <a:gd name="connsiteY193" fmla="*/ 2247266 h 6858001"/>
              <a:gd name="connsiteX194" fmla="*/ 4054838 w 8009775"/>
              <a:gd name="connsiteY194" fmla="*/ 2241551 h 6858001"/>
              <a:gd name="connsiteX195" fmla="*/ 4055133 w 8009775"/>
              <a:gd name="connsiteY195" fmla="*/ 2235519 h 6858001"/>
              <a:gd name="connsiteX196" fmla="*/ 4054838 w 8009775"/>
              <a:gd name="connsiteY196" fmla="*/ 2229804 h 6858001"/>
              <a:gd name="connsiteX197" fmla="*/ 4054542 w 8009775"/>
              <a:gd name="connsiteY197" fmla="*/ 2223770 h 6858001"/>
              <a:gd name="connsiteX198" fmla="*/ 4053656 w 8009775"/>
              <a:gd name="connsiteY198" fmla="*/ 2217739 h 6858001"/>
              <a:gd name="connsiteX199" fmla="*/ 4052769 w 8009775"/>
              <a:gd name="connsiteY199" fmla="*/ 2212024 h 6858001"/>
              <a:gd name="connsiteX200" fmla="*/ 4051587 w 8009775"/>
              <a:gd name="connsiteY200" fmla="*/ 2206309 h 6858001"/>
              <a:gd name="connsiteX201" fmla="*/ 4050109 w 8009775"/>
              <a:gd name="connsiteY201" fmla="*/ 2200593 h 6858001"/>
              <a:gd name="connsiteX202" fmla="*/ 4048040 w 8009775"/>
              <a:gd name="connsiteY202" fmla="*/ 2194878 h 6858001"/>
              <a:gd name="connsiteX203" fmla="*/ 4046267 w 8009775"/>
              <a:gd name="connsiteY203" fmla="*/ 2189163 h 6858001"/>
              <a:gd name="connsiteX204" fmla="*/ 4043606 w 8009775"/>
              <a:gd name="connsiteY204" fmla="*/ 2183765 h 6858001"/>
              <a:gd name="connsiteX205" fmla="*/ 4040946 w 8009775"/>
              <a:gd name="connsiteY205" fmla="*/ 2178368 h 6858001"/>
              <a:gd name="connsiteX206" fmla="*/ 4037991 w 8009775"/>
              <a:gd name="connsiteY206" fmla="*/ 2172970 h 6858001"/>
              <a:gd name="connsiteX207" fmla="*/ 4034740 w 8009775"/>
              <a:gd name="connsiteY207" fmla="*/ 2167890 h 6858001"/>
              <a:gd name="connsiteX208" fmla="*/ 4031193 w 8009775"/>
              <a:gd name="connsiteY208" fmla="*/ 2162494 h 6858001"/>
              <a:gd name="connsiteX209" fmla="*/ 4027646 w 8009775"/>
              <a:gd name="connsiteY209" fmla="*/ 2157730 h 6858001"/>
              <a:gd name="connsiteX210" fmla="*/ 4023213 w 8009775"/>
              <a:gd name="connsiteY210" fmla="*/ 2153285 h 6858001"/>
              <a:gd name="connsiteX211" fmla="*/ 4018779 w 8009775"/>
              <a:gd name="connsiteY211" fmla="*/ 2148523 h 6858001"/>
              <a:gd name="connsiteX212" fmla="*/ 3632182 w 8009775"/>
              <a:gd name="connsiteY212" fmla="*/ 1761490 h 6858001"/>
              <a:gd name="connsiteX213" fmla="*/ 3435928 w 8009775"/>
              <a:gd name="connsiteY213" fmla="*/ 1565276 h 6858001"/>
              <a:gd name="connsiteX214" fmla="*/ 3431198 w 8009775"/>
              <a:gd name="connsiteY214" fmla="*/ 1560514 h 6858001"/>
              <a:gd name="connsiteX215" fmla="*/ 3427356 w 8009775"/>
              <a:gd name="connsiteY215" fmla="*/ 1555751 h 6858001"/>
              <a:gd name="connsiteX216" fmla="*/ 3423218 w 8009775"/>
              <a:gd name="connsiteY216" fmla="*/ 1550671 h 6858001"/>
              <a:gd name="connsiteX217" fmla="*/ 3420262 w 8009775"/>
              <a:gd name="connsiteY217" fmla="*/ 1545909 h 6858001"/>
              <a:gd name="connsiteX218" fmla="*/ 3417012 w 8009775"/>
              <a:gd name="connsiteY218" fmla="*/ 1540829 h 6858001"/>
              <a:gd name="connsiteX219" fmla="*/ 3413760 w 8009775"/>
              <a:gd name="connsiteY219" fmla="*/ 1535430 h 6858001"/>
              <a:gd name="connsiteX220" fmla="*/ 3411100 w 8009775"/>
              <a:gd name="connsiteY220" fmla="*/ 1530034 h 6858001"/>
              <a:gd name="connsiteX221" fmla="*/ 3408736 w 8009775"/>
              <a:gd name="connsiteY221" fmla="*/ 1524635 h 6858001"/>
              <a:gd name="connsiteX222" fmla="*/ 3406371 w 8009775"/>
              <a:gd name="connsiteY222" fmla="*/ 1518920 h 6858001"/>
              <a:gd name="connsiteX223" fmla="*/ 3404598 w 8009775"/>
              <a:gd name="connsiteY223" fmla="*/ 1513205 h 6858001"/>
              <a:gd name="connsiteX224" fmla="*/ 3403120 w 8009775"/>
              <a:gd name="connsiteY224" fmla="*/ 1507174 h 6858001"/>
              <a:gd name="connsiteX225" fmla="*/ 3401938 w 8009775"/>
              <a:gd name="connsiteY225" fmla="*/ 1501459 h 6858001"/>
              <a:gd name="connsiteX226" fmla="*/ 3401051 w 8009775"/>
              <a:gd name="connsiteY226" fmla="*/ 1495744 h 6858001"/>
              <a:gd name="connsiteX227" fmla="*/ 3400460 w 8009775"/>
              <a:gd name="connsiteY227" fmla="*/ 1489710 h 6858001"/>
              <a:gd name="connsiteX228" fmla="*/ 3399869 w 8009775"/>
              <a:gd name="connsiteY228" fmla="*/ 1483995 h 6858001"/>
              <a:gd name="connsiteX229" fmla="*/ 3399573 w 8009775"/>
              <a:gd name="connsiteY229" fmla="*/ 1478281 h 6858001"/>
              <a:gd name="connsiteX230" fmla="*/ 3399869 w 8009775"/>
              <a:gd name="connsiteY230" fmla="*/ 1472249 h 6858001"/>
              <a:gd name="connsiteX231" fmla="*/ 3400460 w 8009775"/>
              <a:gd name="connsiteY231" fmla="*/ 1466215 h 6858001"/>
              <a:gd name="connsiteX232" fmla="*/ 3401051 w 8009775"/>
              <a:gd name="connsiteY232" fmla="*/ 1460183 h 6858001"/>
              <a:gd name="connsiteX233" fmla="*/ 3401938 w 8009775"/>
              <a:gd name="connsiteY233" fmla="*/ 1454468 h 6858001"/>
              <a:gd name="connsiteX234" fmla="*/ 3403120 w 8009775"/>
              <a:gd name="connsiteY234" fmla="*/ 1448754 h 6858001"/>
              <a:gd name="connsiteX235" fmla="*/ 3404598 w 8009775"/>
              <a:gd name="connsiteY235" fmla="*/ 1443039 h 6858001"/>
              <a:gd name="connsiteX236" fmla="*/ 3406371 w 8009775"/>
              <a:gd name="connsiteY236" fmla="*/ 1437324 h 6858001"/>
              <a:gd name="connsiteX237" fmla="*/ 3408736 w 8009775"/>
              <a:gd name="connsiteY237" fmla="*/ 1431609 h 6858001"/>
              <a:gd name="connsiteX238" fmla="*/ 3411100 w 8009775"/>
              <a:gd name="connsiteY238" fmla="*/ 1426211 h 6858001"/>
              <a:gd name="connsiteX239" fmla="*/ 3413760 w 8009775"/>
              <a:gd name="connsiteY239" fmla="*/ 1420814 h 6858001"/>
              <a:gd name="connsiteX240" fmla="*/ 3417012 w 8009775"/>
              <a:gd name="connsiteY240" fmla="*/ 1415416 h 6858001"/>
              <a:gd name="connsiteX241" fmla="*/ 3420262 w 8009775"/>
              <a:gd name="connsiteY241" fmla="*/ 1410336 h 6858001"/>
              <a:gd name="connsiteX242" fmla="*/ 3423218 w 8009775"/>
              <a:gd name="connsiteY242" fmla="*/ 1405256 h 6858001"/>
              <a:gd name="connsiteX243" fmla="*/ 3427356 w 8009775"/>
              <a:gd name="connsiteY243" fmla="*/ 1400175 h 6858001"/>
              <a:gd name="connsiteX244" fmla="*/ 3431198 w 8009775"/>
              <a:gd name="connsiteY244" fmla="*/ 1395731 h 6858001"/>
              <a:gd name="connsiteX245" fmla="*/ 3435928 w 8009775"/>
              <a:gd name="connsiteY245" fmla="*/ 1390969 h 6858001"/>
              <a:gd name="connsiteX246" fmla="*/ 3440361 w 8009775"/>
              <a:gd name="connsiteY246" fmla="*/ 1386524 h 6858001"/>
              <a:gd name="connsiteX247" fmla="*/ 3445386 w 8009775"/>
              <a:gd name="connsiteY247" fmla="*/ 1382396 h 6858001"/>
              <a:gd name="connsiteX248" fmla="*/ 3449819 w 8009775"/>
              <a:gd name="connsiteY248" fmla="*/ 1378585 h 6858001"/>
              <a:gd name="connsiteX249" fmla="*/ 3454844 w 8009775"/>
              <a:gd name="connsiteY249" fmla="*/ 1375094 h 6858001"/>
              <a:gd name="connsiteX250" fmla="*/ 3460459 w 8009775"/>
              <a:gd name="connsiteY250" fmla="*/ 1371919 h 6858001"/>
              <a:gd name="connsiteX251" fmla="*/ 3465780 w 8009775"/>
              <a:gd name="connsiteY251" fmla="*/ 1369061 h 6858001"/>
              <a:gd name="connsiteX252" fmla="*/ 3471100 w 8009775"/>
              <a:gd name="connsiteY252" fmla="*/ 1366204 h 6858001"/>
              <a:gd name="connsiteX253" fmla="*/ 3476420 w 8009775"/>
              <a:gd name="connsiteY253" fmla="*/ 1363980 h 6858001"/>
              <a:gd name="connsiteX254" fmla="*/ 3482331 w 8009775"/>
              <a:gd name="connsiteY254" fmla="*/ 1361759 h 6858001"/>
              <a:gd name="connsiteX255" fmla="*/ 3487947 w 8009775"/>
              <a:gd name="connsiteY255" fmla="*/ 1360170 h 6858001"/>
              <a:gd name="connsiteX256" fmla="*/ 3493858 w 8009775"/>
              <a:gd name="connsiteY256" fmla="*/ 1358265 h 6858001"/>
              <a:gd name="connsiteX257" fmla="*/ 3499474 w 8009775"/>
              <a:gd name="connsiteY257" fmla="*/ 1357314 h 6858001"/>
              <a:gd name="connsiteX258" fmla="*/ 3505385 w 8009775"/>
              <a:gd name="connsiteY258" fmla="*/ 1356043 h 6858001"/>
              <a:gd name="connsiteX259" fmla="*/ 3511001 w 8009775"/>
              <a:gd name="connsiteY259" fmla="*/ 1355409 h 6858001"/>
              <a:gd name="connsiteX260" fmla="*/ 3517208 w 8009775"/>
              <a:gd name="connsiteY260" fmla="*/ 1355090 h 6858001"/>
              <a:gd name="connsiteX261" fmla="*/ 3522823 w 8009775"/>
              <a:gd name="connsiteY261" fmla="*/ 1354773 h 6858001"/>
              <a:gd name="connsiteX262" fmla="*/ 3529030 w 8009775"/>
              <a:gd name="connsiteY262" fmla="*/ 1355090 h 6858001"/>
              <a:gd name="connsiteX263" fmla="*/ 3534646 w 8009775"/>
              <a:gd name="connsiteY263" fmla="*/ 1355409 h 6858001"/>
              <a:gd name="connsiteX264" fmla="*/ 3540557 w 8009775"/>
              <a:gd name="connsiteY264" fmla="*/ 1356043 h 6858001"/>
              <a:gd name="connsiteX265" fmla="*/ 3546468 w 8009775"/>
              <a:gd name="connsiteY265" fmla="*/ 1357314 h 6858001"/>
              <a:gd name="connsiteX266" fmla="*/ 3552380 w 8009775"/>
              <a:gd name="connsiteY266" fmla="*/ 1358265 h 6858001"/>
              <a:gd name="connsiteX267" fmla="*/ 3557995 w 8009775"/>
              <a:gd name="connsiteY267" fmla="*/ 1360170 h 6858001"/>
              <a:gd name="connsiteX268" fmla="*/ 3563906 w 8009775"/>
              <a:gd name="connsiteY268" fmla="*/ 1361759 h 6858001"/>
              <a:gd name="connsiteX269" fmla="*/ 3569227 w 8009775"/>
              <a:gd name="connsiteY269" fmla="*/ 1363980 h 6858001"/>
              <a:gd name="connsiteX270" fmla="*/ 3574842 w 8009775"/>
              <a:gd name="connsiteY270" fmla="*/ 1366204 h 6858001"/>
              <a:gd name="connsiteX271" fmla="*/ 3580458 w 8009775"/>
              <a:gd name="connsiteY271" fmla="*/ 1369061 h 6858001"/>
              <a:gd name="connsiteX272" fmla="*/ 3585778 w 8009775"/>
              <a:gd name="connsiteY272" fmla="*/ 1371919 h 6858001"/>
              <a:gd name="connsiteX273" fmla="*/ 3590803 w 8009775"/>
              <a:gd name="connsiteY273" fmla="*/ 1375094 h 6858001"/>
              <a:gd name="connsiteX274" fmla="*/ 3595828 w 8009775"/>
              <a:gd name="connsiteY274" fmla="*/ 1378585 h 6858001"/>
              <a:gd name="connsiteX275" fmla="*/ 3600852 w 8009775"/>
              <a:gd name="connsiteY275" fmla="*/ 1382396 h 6858001"/>
              <a:gd name="connsiteX276" fmla="*/ 3605581 w 8009775"/>
              <a:gd name="connsiteY276" fmla="*/ 1386524 h 6858001"/>
              <a:gd name="connsiteX277" fmla="*/ 3610014 w 8009775"/>
              <a:gd name="connsiteY277" fmla="*/ 1390969 h 6858001"/>
              <a:gd name="connsiteX278" fmla="*/ 3817500 w 8009775"/>
              <a:gd name="connsiteY278" fmla="*/ 1598296 h 6858001"/>
              <a:gd name="connsiteX279" fmla="*/ 3821934 w 8009775"/>
              <a:gd name="connsiteY279" fmla="*/ 1602423 h 6858001"/>
              <a:gd name="connsiteX280" fmla="*/ 3826663 w 8009775"/>
              <a:gd name="connsiteY280" fmla="*/ 1606869 h 6858001"/>
              <a:gd name="connsiteX281" fmla="*/ 3831687 w 8009775"/>
              <a:gd name="connsiteY281" fmla="*/ 1610361 h 6858001"/>
              <a:gd name="connsiteX282" fmla="*/ 3836712 w 8009775"/>
              <a:gd name="connsiteY282" fmla="*/ 1613854 h 6858001"/>
              <a:gd name="connsiteX283" fmla="*/ 3841736 w 8009775"/>
              <a:gd name="connsiteY283" fmla="*/ 1617345 h 6858001"/>
              <a:gd name="connsiteX284" fmla="*/ 3847352 w 8009775"/>
              <a:gd name="connsiteY284" fmla="*/ 1620204 h 6858001"/>
              <a:gd name="connsiteX285" fmla="*/ 3852672 w 8009775"/>
              <a:gd name="connsiteY285" fmla="*/ 1623061 h 6858001"/>
              <a:gd name="connsiteX286" fmla="*/ 3857992 w 8009775"/>
              <a:gd name="connsiteY286" fmla="*/ 1625283 h 6858001"/>
              <a:gd name="connsiteX287" fmla="*/ 3863608 w 8009775"/>
              <a:gd name="connsiteY287" fmla="*/ 1627189 h 6858001"/>
              <a:gd name="connsiteX288" fmla="*/ 3869519 w 8009775"/>
              <a:gd name="connsiteY288" fmla="*/ 1629094 h 6858001"/>
              <a:gd name="connsiteX289" fmla="*/ 3875135 w 8009775"/>
              <a:gd name="connsiteY289" fmla="*/ 1630998 h 6858001"/>
              <a:gd name="connsiteX290" fmla="*/ 3881046 w 8009775"/>
              <a:gd name="connsiteY290" fmla="*/ 1631950 h 6858001"/>
              <a:gd name="connsiteX291" fmla="*/ 3886662 w 8009775"/>
              <a:gd name="connsiteY291" fmla="*/ 1632904 h 6858001"/>
              <a:gd name="connsiteX292" fmla="*/ 3892869 w 8009775"/>
              <a:gd name="connsiteY292" fmla="*/ 1633856 h 6858001"/>
              <a:gd name="connsiteX293" fmla="*/ 3898485 w 8009775"/>
              <a:gd name="connsiteY293" fmla="*/ 1634174 h 6858001"/>
              <a:gd name="connsiteX294" fmla="*/ 3904396 w 8009775"/>
              <a:gd name="connsiteY294" fmla="*/ 1634174 h 6858001"/>
              <a:gd name="connsiteX295" fmla="*/ 3910307 w 8009775"/>
              <a:gd name="connsiteY295" fmla="*/ 1634174 h 6858001"/>
              <a:gd name="connsiteX296" fmla="*/ 3916219 w 8009775"/>
              <a:gd name="connsiteY296" fmla="*/ 1633856 h 6858001"/>
              <a:gd name="connsiteX297" fmla="*/ 3922425 w 8009775"/>
              <a:gd name="connsiteY297" fmla="*/ 1632904 h 6858001"/>
              <a:gd name="connsiteX298" fmla="*/ 3928041 w 8009775"/>
              <a:gd name="connsiteY298" fmla="*/ 1631950 h 6858001"/>
              <a:gd name="connsiteX299" fmla="*/ 3933657 w 8009775"/>
              <a:gd name="connsiteY299" fmla="*/ 1630998 h 6858001"/>
              <a:gd name="connsiteX300" fmla="*/ 3939568 w 8009775"/>
              <a:gd name="connsiteY300" fmla="*/ 1629094 h 6858001"/>
              <a:gd name="connsiteX301" fmla="*/ 3945184 w 8009775"/>
              <a:gd name="connsiteY301" fmla="*/ 1627189 h 6858001"/>
              <a:gd name="connsiteX302" fmla="*/ 3950799 w 8009775"/>
              <a:gd name="connsiteY302" fmla="*/ 1625283 h 6858001"/>
              <a:gd name="connsiteX303" fmla="*/ 3956415 w 8009775"/>
              <a:gd name="connsiteY303" fmla="*/ 1623061 h 6858001"/>
              <a:gd name="connsiteX304" fmla="*/ 3961735 w 8009775"/>
              <a:gd name="connsiteY304" fmla="*/ 1620204 h 6858001"/>
              <a:gd name="connsiteX305" fmla="*/ 3967055 w 8009775"/>
              <a:gd name="connsiteY305" fmla="*/ 1617345 h 6858001"/>
              <a:gd name="connsiteX306" fmla="*/ 3972376 w 8009775"/>
              <a:gd name="connsiteY306" fmla="*/ 1613854 h 6858001"/>
              <a:gd name="connsiteX307" fmla="*/ 3977400 w 8009775"/>
              <a:gd name="connsiteY307" fmla="*/ 1610361 h 6858001"/>
              <a:gd name="connsiteX308" fmla="*/ 3982425 w 8009775"/>
              <a:gd name="connsiteY308" fmla="*/ 1606869 h 6858001"/>
              <a:gd name="connsiteX309" fmla="*/ 3986858 w 8009775"/>
              <a:gd name="connsiteY309" fmla="*/ 1602423 h 6858001"/>
              <a:gd name="connsiteX310" fmla="*/ 3991587 w 8009775"/>
              <a:gd name="connsiteY310" fmla="*/ 1598296 h 6858001"/>
              <a:gd name="connsiteX311" fmla="*/ 3996021 w 8009775"/>
              <a:gd name="connsiteY311" fmla="*/ 1593533 h 6858001"/>
              <a:gd name="connsiteX312" fmla="*/ 4000159 w 8009775"/>
              <a:gd name="connsiteY312" fmla="*/ 1588771 h 6858001"/>
              <a:gd name="connsiteX313" fmla="*/ 4003705 w 8009775"/>
              <a:gd name="connsiteY313" fmla="*/ 1583691 h 6858001"/>
              <a:gd name="connsiteX314" fmla="*/ 4007548 w 8009775"/>
              <a:gd name="connsiteY314" fmla="*/ 1578928 h 6858001"/>
              <a:gd name="connsiteX315" fmla="*/ 4010799 w 8009775"/>
              <a:gd name="connsiteY315" fmla="*/ 1573849 h 6858001"/>
              <a:gd name="connsiteX316" fmla="*/ 4013459 w 8009775"/>
              <a:gd name="connsiteY316" fmla="*/ 1568451 h 6858001"/>
              <a:gd name="connsiteX317" fmla="*/ 4016415 w 8009775"/>
              <a:gd name="connsiteY317" fmla="*/ 1563054 h 6858001"/>
              <a:gd name="connsiteX318" fmla="*/ 4018484 w 8009775"/>
              <a:gd name="connsiteY318" fmla="*/ 1557339 h 6858001"/>
              <a:gd name="connsiteX319" fmla="*/ 4020848 w 8009775"/>
              <a:gd name="connsiteY319" fmla="*/ 1551941 h 6858001"/>
              <a:gd name="connsiteX320" fmla="*/ 4022621 w 8009775"/>
              <a:gd name="connsiteY320" fmla="*/ 1546226 h 6858001"/>
              <a:gd name="connsiteX321" fmla="*/ 4024395 w 8009775"/>
              <a:gd name="connsiteY321" fmla="*/ 1540511 h 6858001"/>
              <a:gd name="connsiteX322" fmla="*/ 4025282 w 8009775"/>
              <a:gd name="connsiteY322" fmla="*/ 1534478 h 6858001"/>
              <a:gd name="connsiteX323" fmla="*/ 4026464 w 8009775"/>
              <a:gd name="connsiteY323" fmla="*/ 1528763 h 6858001"/>
              <a:gd name="connsiteX324" fmla="*/ 4027055 w 8009775"/>
              <a:gd name="connsiteY324" fmla="*/ 1522731 h 6858001"/>
              <a:gd name="connsiteX325" fmla="*/ 4027646 w 8009775"/>
              <a:gd name="connsiteY325" fmla="*/ 1517016 h 6858001"/>
              <a:gd name="connsiteX326" fmla="*/ 4027646 w 8009775"/>
              <a:gd name="connsiteY326" fmla="*/ 1510984 h 6858001"/>
              <a:gd name="connsiteX327" fmla="*/ 4027646 w 8009775"/>
              <a:gd name="connsiteY327" fmla="*/ 1505268 h 6858001"/>
              <a:gd name="connsiteX328" fmla="*/ 4027055 w 8009775"/>
              <a:gd name="connsiteY328" fmla="*/ 1499553 h 6858001"/>
              <a:gd name="connsiteX329" fmla="*/ 4026464 w 8009775"/>
              <a:gd name="connsiteY329" fmla="*/ 1493204 h 6858001"/>
              <a:gd name="connsiteX330" fmla="*/ 4025282 w 8009775"/>
              <a:gd name="connsiteY330" fmla="*/ 1487489 h 6858001"/>
              <a:gd name="connsiteX331" fmla="*/ 4024395 w 8009775"/>
              <a:gd name="connsiteY331" fmla="*/ 1481773 h 6858001"/>
              <a:gd name="connsiteX332" fmla="*/ 4022621 w 8009775"/>
              <a:gd name="connsiteY332" fmla="*/ 1476058 h 6858001"/>
              <a:gd name="connsiteX333" fmla="*/ 4020848 w 8009775"/>
              <a:gd name="connsiteY333" fmla="*/ 1470343 h 6858001"/>
              <a:gd name="connsiteX334" fmla="*/ 4018484 w 8009775"/>
              <a:gd name="connsiteY334" fmla="*/ 1464629 h 6858001"/>
              <a:gd name="connsiteX335" fmla="*/ 4016415 w 8009775"/>
              <a:gd name="connsiteY335" fmla="*/ 1459231 h 6858001"/>
              <a:gd name="connsiteX336" fmla="*/ 4013459 w 8009775"/>
              <a:gd name="connsiteY336" fmla="*/ 1453834 h 6858001"/>
              <a:gd name="connsiteX337" fmla="*/ 4010799 w 8009775"/>
              <a:gd name="connsiteY337" fmla="*/ 1448436 h 6858001"/>
              <a:gd name="connsiteX338" fmla="*/ 4007548 w 8009775"/>
              <a:gd name="connsiteY338" fmla="*/ 1443356 h 6858001"/>
              <a:gd name="connsiteX339" fmla="*/ 4003705 w 8009775"/>
              <a:gd name="connsiteY339" fmla="*/ 1438275 h 6858001"/>
              <a:gd name="connsiteX340" fmla="*/ 4000159 w 8009775"/>
              <a:gd name="connsiteY340" fmla="*/ 1433195 h 6858001"/>
              <a:gd name="connsiteX341" fmla="*/ 3996021 w 8009775"/>
              <a:gd name="connsiteY341" fmla="*/ 1428751 h 6858001"/>
              <a:gd name="connsiteX342" fmla="*/ 3991587 w 8009775"/>
              <a:gd name="connsiteY342" fmla="*/ 1423988 h 6858001"/>
              <a:gd name="connsiteX343" fmla="*/ 3323022 w 8009775"/>
              <a:gd name="connsiteY343" fmla="*/ 755333 h 6858001"/>
              <a:gd name="connsiteX344" fmla="*/ 3316815 w 8009775"/>
              <a:gd name="connsiteY344" fmla="*/ 748348 h 6858001"/>
              <a:gd name="connsiteX345" fmla="*/ 3310904 w 8009775"/>
              <a:gd name="connsiteY345" fmla="*/ 741045 h 6858001"/>
              <a:gd name="connsiteX346" fmla="*/ 3305584 w 8009775"/>
              <a:gd name="connsiteY346" fmla="*/ 733108 h 6858001"/>
              <a:gd name="connsiteX347" fmla="*/ 3300855 w 8009775"/>
              <a:gd name="connsiteY347" fmla="*/ 725170 h 6858001"/>
              <a:gd name="connsiteX348" fmla="*/ 3297308 w 8009775"/>
              <a:gd name="connsiteY348" fmla="*/ 716915 h 6858001"/>
              <a:gd name="connsiteX349" fmla="*/ 3293761 w 8009775"/>
              <a:gd name="connsiteY349" fmla="*/ 708660 h 6858001"/>
              <a:gd name="connsiteX350" fmla="*/ 3291101 w 8009775"/>
              <a:gd name="connsiteY350" fmla="*/ 699770 h 6858001"/>
              <a:gd name="connsiteX351" fmla="*/ 3289328 w 8009775"/>
              <a:gd name="connsiteY351" fmla="*/ 691198 h 6858001"/>
              <a:gd name="connsiteX352" fmla="*/ 2596527 w 8009775"/>
              <a:gd name="connsiteY352" fmla="*/ 0 h 6858001"/>
              <a:gd name="connsiteX0" fmla="*/ 2596527 w 8009775"/>
              <a:gd name="connsiteY0" fmla="*/ 0 h 6858001"/>
              <a:gd name="connsiteX1" fmla="*/ 2165004 w 8009775"/>
              <a:gd name="connsiteY1" fmla="*/ 0 h 6858001"/>
              <a:gd name="connsiteX2" fmla="*/ 3265978 w 8009775"/>
              <a:gd name="connsiteY2" fmla="*/ 1101091 h 6858001"/>
              <a:gd name="connsiteX3" fmla="*/ 3270708 w 8009775"/>
              <a:gd name="connsiteY3" fmla="*/ 1105854 h 6858001"/>
              <a:gd name="connsiteX4" fmla="*/ 3274550 w 8009775"/>
              <a:gd name="connsiteY4" fmla="*/ 1110615 h 6858001"/>
              <a:gd name="connsiteX5" fmla="*/ 3278688 w 8009775"/>
              <a:gd name="connsiteY5" fmla="*/ 1115696 h 6858001"/>
              <a:gd name="connsiteX6" fmla="*/ 3282234 w 8009775"/>
              <a:gd name="connsiteY6" fmla="*/ 1120776 h 6858001"/>
              <a:gd name="connsiteX7" fmla="*/ 3285486 w 8009775"/>
              <a:gd name="connsiteY7" fmla="*/ 1126174 h 6858001"/>
              <a:gd name="connsiteX8" fmla="*/ 3288146 w 8009775"/>
              <a:gd name="connsiteY8" fmla="*/ 1131570 h 6858001"/>
              <a:gd name="connsiteX9" fmla="*/ 3291101 w 8009775"/>
              <a:gd name="connsiteY9" fmla="*/ 1136968 h 6858001"/>
              <a:gd name="connsiteX10" fmla="*/ 3293761 w 8009775"/>
              <a:gd name="connsiteY10" fmla="*/ 1142366 h 6858001"/>
              <a:gd name="connsiteX11" fmla="*/ 3295830 w 8009775"/>
              <a:gd name="connsiteY11" fmla="*/ 1148081 h 6858001"/>
              <a:gd name="connsiteX12" fmla="*/ 3297604 w 8009775"/>
              <a:gd name="connsiteY12" fmla="*/ 1153796 h 6858001"/>
              <a:gd name="connsiteX13" fmla="*/ 3299082 w 8009775"/>
              <a:gd name="connsiteY13" fmla="*/ 1159829 h 6858001"/>
              <a:gd name="connsiteX14" fmla="*/ 3300559 w 8009775"/>
              <a:gd name="connsiteY14" fmla="*/ 1165544 h 6858001"/>
              <a:gd name="connsiteX15" fmla="*/ 3301446 w 8009775"/>
              <a:gd name="connsiteY15" fmla="*/ 1171893 h 6858001"/>
              <a:gd name="connsiteX16" fmla="*/ 3302333 w 8009775"/>
              <a:gd name="connsiteY16" fmla="*/ 1177608 h 6858001"/>
              <a:gd name="connsiteX17" fmla="*/ 3302628 w 8009775"/>
              <a:gd name="connsiteY17" fmla="*/ 1183641 h 6858001"/>
              <a:gd name="connsiteX18" fmla="*/ 3302628 w 8009775"/>
              <a:gd name="connsiteY18" fmla="*/ 1189356 h 6858001"/>
              <a:gd name="connsiteX19" fmla="*/ 3302628 w 8009775"/>
              <a:gd name="connsiteY19" fmla="*/ 1195388 h 6858001"/>
              <a:gd name="connsiteX20" fmla="*/ 3302333 w 8009775"/>
              <a:gd name="connsiteY20" fmla="*/ 1201739 h 6858001"/>
              <a:gd name="connsiteX21" fmla="*/ 3301446 w 8009775"/>
              <a:gd name="connsiteY21" fmla="*/ 1207454 h 6858001"/>
              <a:gd name="connsiteX22" fmla="*/ 3300559 w 8009775"/>
              <a:gd name="connsiteY22" fmla="*/ 1213486 h 6858001"/>
              <a:gd name="connsiteX23" fmla="*/ 3299082 w 8009775"/>
              <a:gd name="connsiteY23" fmla="*/ 1219200 h 6858001"/>
              <a:gd name="connsiteX24" fmla="*/ 3297604 w 8009775"/>
              <a:gd name="connsiteY24" fmla="*/ 1225233 h 6858001"/>
              <a:gd name="connsiteX25" fmla="*/ 3295830 w 8009775"/>
              <a:gd name="connsiteY25" fmla="*/ 1230949 h 6858001"/>
              <a:gd name="connsiteX26" fmla="*/ 3293761 w 8009775"/>
              <a:gd name="connsiteY26" fmla="*/ 1236346 h 6858001"/>
              <a:gd name="connsiteX27" fmla="*/ 3291101 w 8009775"/>
              <a:gd name="connsiteY27" fmla="*/ 1242061 h 6858001"/>
              <a:gd name="connsiteX28" fmla="*/ 3288146 w 8009775"/>
              <a:gd name="connsiteY28" fmla="*/ 1247459 h 6858001"/>
              <a:gd name="connsiteX29" fmla="*/ 3285486 w 8009775"/>
              <a:gd name="connsiteY29" fmla="*/ 1252855 h 6858001"/>
              <a:gd name="connsiteX30" fmla="*/ 3282234 w 8009775"/>
              <a:gd name="connsiteY30" fmla="*/ 1258254 h 6858001"/>
              <a:gd name="connsiteX31" fmla="*/ 3278688 w 8009775"/>
              <a:gd name="connsiteY31" fmla="*/ 1263333 h 6858001"/>
              <a:gd name="connsiteX32" fmla="*/ 3274550 w 8009775"/>
              <a:gd name="connsiteY32" fmla="*/ 1268413 h 6858001"/>
              <a:gd name="connsiteX33" fmla="*/ 3270708 w 8009775"/>
              <a:gd name="connsiteY33" fmla="*/ 1273494 h 6858001"/>
              <a:gd name="connsiteX34" fmla="*/ 3265978 w 8009775"/>
              <a:gd name="connsiteY34" fmla="*/ 1278255 h 6858001"/>
              <a:gd name="connsiteX35" fmla="*/ 3261249 w 8009775"/>
              <a:gd name="connsiteY35" fmla="*/ 1282384 h 6858001"/>
              <a:gd name="connsiteX36" fmla="*/ 3256816 w 8009775"/>
              <a:gd name="connsiteY36" fmla="*/ 1286510 h 6858001"/>
              <a:gd name="connsiteX37" fmla="*/ 3251791 w 8009775"/>
              <a:gd name="connsiteY37" fmla="*/ 1290321 h 6858001"/>
              <a:gd name="connsiteX38" fmla="*/ 3246767 w 8009775"/>
              <a:gd name="connsiteY38" fmla="*/ 1293814 h 6858001"/>
              <a:gd name="connsiteX39" fmla="*/ 3241151 w 8009775"/>
              <a:gd name="connsiteY39" fmla="*/ 1297306 h 6858001"/>
              <a:gd name="connsiteX40" fmla="*/ 3235831 w 8009775"/>
              <a:gd name="connsiteY40" fmla="*/ 1300481 h 6858001"/>
              <a:gd name="connsiteX41" fmla="*/ 3230511 w 8009775"/>
              <a:gd name="connsiteY41" fmla="*/ 1303021 h 6858001"/>
              <a:gd name="connsiteX42" fmla="*/ 3224600 w 8009775"/>
              <a:gd name="connsiteY42" fmla="*/ 1305560 h 6858001"/>
              <a:gd name="connsiteX43" fmla="*/ 3218984 w 8009775"/>
              <a:gd name="connsiteY43" fmla="*/ 1307465 h 6858001"/>
              <a:gd name="connsiteX44" fmla="*/ 3213072 w 8009775"/>
              <a:gd name="connsiteY44" fmla="*/ 1309371 h 6858001"/>
              <a:gd name="connsiteX45" fmla="*/ 3207457 w 8009775"/>
              <a:gd name="connsiteY45" fmla="*/ 1311275 h 6858001"/>
              <a:gd name="connsiteX46" fmla="*/ 3201841 w 8009775"/>
              <a:gd name="connsiteY46" fmla="*/ 1312228 h 6858001"/>
              <a:gd name="connsiteX47" fmla="*/ 3195634 w 8009775"/>
              <a:gd name="connsiteY47" fmla="*/ 1313180 h 6858001"/>
              <a:gd name="connsiteX48" fmla="*/ 3189428 w 8009775"/>
              <a:gd name="connsiteY48" fmla="*/ 1314133 h 6858001"/>
              <a:gd name="connsiteX49" fmla="*/ 3183812 w 8009775"/>
              <a:gd name="connsiteY49" fmla="*/ 1314450 h 6858001"/>
              <a:gd name="connsiteX50" fmla="*/ 3177605 w 8009775"/>
              <a:gd name="connsiteY50" fmla="*/ 1314769 h 6858001"/>
              <a:gd name="connsiteX51" fmla="*/ 3171694 w 8009775"/>
              <a:gd name="connsiteY51" fmla="*/ 1314450 h 6858001"/>
              <a:gd name="connsiteX52" fmla="*/ 3165782 w 8009775"/>
              <a:gd name="connsiteY52" fmla="*/ 1314133 h 6858001"/>
              <a:gd name="connsiteX53" fmla="*/ 3159576 w 8009775"/>
              <a:gd name="connsiteY53" fmla="*/ 1313180 h 6858001"/>
              <a:gd name="connsiteX54" fmla="*/ 3153960 w 8009775"/>
              <a:gd name="connsiteY54" fmla="*/ 1312228 h 6858001"/>
              <a:gd name="connsiteX55" fmla="*/ 3147753 w 8009775"/>
              <a:gd name="connsiteY55" fmla="*/ 1311275 h 6858001"/>
              <a:gd name="connsiteX56" fmla="*/ 3142137 w 8009775"/>
              <a:gd name="connsiteY56" fmla="*/ 1309371 h 6858001"/>
              <a:gd name="connsiteX57" fmla="*/ 3136226 w 8009775"/>
              <a:gd name="connsiteY57" fmla="*/ 1307465 h 6858001"/>
              <a:gd name="connsiteX58" fmla="*/ 3130610 w 8009775"/>
              <a:gd name="connsiteY58" fmla="*/ 1305560 h 6858001"/>
              <a:gd name="connsiteX59" fmla="*/ 3124994 w 8009775"/>
              <a:gd name="connsiteY59" fmla="*/ 1303021 h 6858001"/>
              <a:gd name="connsiteX60" fmla="*/ 3119379 w 8009775"/>
              <a:gd name="connsiteY60" fmla="*/ 1300481 h 6858001"/>
              <a:gd name="connsiteX61" fmla="*/ 3114059 w 8009775"/>
              <a:gd name="connsiteY61" fmla="*/ 1297306 h 6858001"/>
              <a:gd name="connsiteX62" fmla="*/ 3109034 w 8009775"/>
              <a:gd name="connsiteY62" fmla="*/ 1293814 h 6858001"/>
              <a:gd name="connsiteX63" fmla="*/ 3103714 w 8009775"/>
              <a:gd name="connsiteY63" fmla="*/ 1290321 h 6858001"/>
              <a:gd name="connsiteX64" fmla="*/ 3098689 w 8009775"/>
              <a:gd name="connsiteY64" fmla="*/ 1286510 h 6858001"/>
              <a:gd name="connsiteX65" fmla="*/ 3093960 w 8009775"/>
              <a:gd name="connsiteY65" fmla="*/ 1282384 h 6858001"/>
              <a:gd name="connsiteX66" fmla="*/ 3089231 w 8009775"/>
              <a:gd name="connsiteY66" fmla="*/ 1278255 h 6858001"/>
              <a:gd name="connsiteX67" fmla="*/ 1811214 w 8009775"/>
              <a:gd name="connsiteY67" fmla="*/ 0 h 6858001"/>
              <a:gd name="connsiteX68" fmla="*/ 551808 w 8009775"/>
              <a:gd name="connsiteY68" fmla="*/ 0 h 6858001"/>
              <a:gd name="connsiteX69" fmla="*/ 408933 w 8009775"/>
              <a:gd name="connsiteY69" fmla="*/ 0 h 6858001"/>
              <a:gd name="connsiteX70" fmla="*/ 55488 w 8009775"/>
              <a:gd name="connsiteY70" fmla="*/ 0 h 6858001"/>
              <a:gd name="connsiteX71" fmla="*/ 0 w 8009775"/>
              <a:gd name="connsiteY71" fmla="*/ 0 h 6858001"/>
              <a:gd name="connsiteX72" fmla="*/ 0 w 8009775"/>
              <a:gd name="connsiteY72" fmla="*/ 6858000 h 6858001"/>
              <a:gd name="connsiteX73" fmla="*/ 7507651 w 8009775"/>
              <a:gd name="connsiteY73" fmla="*/ 6858001 h 6858001"/>
              <a:gd name="connsiteX74" fmla="*/ 7507650 w 8009775"/>
              <a:gd name="connsiteY74" fmla="*/ 6858000 h 6858001"/>
              <a:gd name="connsiteX75" fmla="*/ 8009775 w 8009775"/>
              <a:gd name="connsiteY75" fmla="*/ 6858000 h 6858001"/>
              <a:gd name="connsiteX76" fmla="*/ 3996316 w 8009775"/>
              <a:gd name="connsiteY76" fmla="*/ 2818448 h 6858001"/>
              <a:gd name="connsiteX77" fmla="*/ 3980947 w 8009775"/>
              <a:gd name="connsiteY77" fmla="*/ 2804795 h 6858001"/>
              <a:gd name="connsiteX78" fmla="*/ 3965282 w 8009775"/>
              <a:gd name="connsiteY78" fmla="*/ 2791144 h 6858001"/>
              <a:gd name="connsiteX79" fmla="*/ 3950799 w 8009775"/>
              <a:gd name="connsiteY79" fmla="*/ 2776856 h 6858001"/>
              <a:gd name="connsiteX80" fmla="*/ 3936021 w 8009775"/>
              <a:gd name="connsiteY80" fmla="*/ 2762568 h 6858001"/>
              <a:gd name="connsiteX81" fmla="*/ 3001744 w 8009775"/>
              <a:gd name="connsiteY81" fmla="*/ 1828166 h 6858001"/>
              <a:gd name="connsiteX82" fmla="*/ 2997311 w 8009775"/>
              <a:gd name="connsiteY82" fmla="*/ 1823404 h 6858001"/>
              <a:gd name="connsiteX83" fmla="*/ 2992878 w 8009775"/>
              <a:gd name="connsiteY83" fmla="*/ 1818640 h 6858001"/>
              <a:gd name="connsiteX84" fmla="*/ 2989331 w 8009775"/>
              <a:gd name="connsiteY84" fmla="*/ 1814195 h 6858001"/>
              <a:gd name="connsiteX85" fmla="*/ 2985784 w 8009775"/>
              <a:gd name="connsiteY85" fmla="*/ 1808799 h 6858001"/>
              <a:gd name="connsiteX86" fmla="*/ 2982533 w 8009775"/>
              <a:gd name="connsiteY86" fmla="*/ 1803718 h 6858001"/>
              <a:gd name="connsiteX87" fmla="*/ 2979873 w 8009775"/>
              <a:gd name="connsiteY87" fmla="*/ 1798321 h 6858001"/>
              <a:gd name="connsiteX88" fmla="*/ 2976917 w 8009775"/>
              <a:gd name="connsiteY88" fmla="*/ 1792924 h 6858001"/>
              <a:gd name="connsiteX89" fmla="*/ 2974552 w 8009775"/>
              <a:gd name="connsiteY89" fmla="*/ 1787526 h 6858001"/>
              <a:gd name="connsiteX90" fmla="*/ 2972484 w 8009775"/>
              <a:gd name="connsiteY90" fmla="*/ 1781811 h 6858001"/>
              <a:gd name="connsiteX91" fmla="*/ 2970710 w 8009775"/>
              <a:gd name="connsiteY91" fmla="*/ 1776095 h 6858001"/>
              <a:gd name="connsiteX92" fmla="*/ 2968937 w 8009775"/>
              <a:gd name="connsiteY92" fmla="*/ 1770380 h 6858001"/>
              <a:gd name="connsiteX93" fmla="*/ 2967755 w 8009775"/>
              <a:gd name="connsiteY93" fmla="*/ 1764665 h 6858001"/>
              <a:gd name="connsiteX94" fmla="*/ 2966868 w 8009775"/>
              <a:gd name="connsiteY94" fmla="*/ 1758634 h 6858001"/>
              <a:gd name="connsiteX95" fmla="*/ 2965981 w 8009775"/>
              <a:gd name="connsiteY95" fmla="*/ 1752919 h 6858001"/>
              <a:gd name="connsiteX96" fmla="*/ 2965686 w 8009775"/>
              <a:gd name="connsiteY96" fmla="*/ 1746885 h 6858001"/>
              <a:gd name="connsiteX97" fmla="*/ 2965686 w 8009775"/>
              <a:gd name="connsiteY97" fmla="*/ 1741170 h 6858001"/>
              <a:gd name="connsiteX98" fmla="*/ 2965686 w 8009775"/>
              <a:gd name="connsiteY98" fmla="*/ 1735139 h 6858001"/>
              <a:gd name="connsiteX99" fmla="*/ 2965981 w 8009775"/>
              <a:gd name="connsiteY99" fmla="*/ 1729424 h 6858001"/>
              <a:gd name="connsiteX100" fmla="*/ 2966868 w 8009775"/>
              <a:gd name="connsiteY100" fmla="*/ 1723074 h 6858001"/>
              <a:gd name="connsiteX101" fmla="*/ 2967755 w 8009775"/>
              <a:gd name="connsiteY101" fmla="*/ 1717358 h 6858001"/>
              <a:gd name="connsiteX102" fmla="*/ 2968937 w 8009775"/>
              <a:gd name="connsiteY102" fmla="*/ 1711643 h 6858001"/>
              <a:gd name="connsiteX103" fmla="*/ 2970710 w 8009775"/>
              <a:gd name="connsiteY103" fmla="*/ 1705929 h 6858001"/>
              <a:gd name="connsiteX104" fmla="*/ 2972484 w 8009775"/>
              <a:gd name="connsiteY104" fmla="*/ 1700214 h 6858001"/>
              <a:gd name="connsiteX105" fmla="*/ 2974552 w 8009775"/>
              <a:gd name="connsiteY105" fmla="*/ 1694816 h 6858001"/>
              <a:gd name="connsiteX106" fmla="*/ 2976917 w 8009775"/>
              <a:gd name="connsiteY106" fmla="*/ 1689101 h 6858001"/>
              <a:gd name="connsiteX107" fmla="*/ 2979873 w 8009775"/>
              <a:gd name="connsiteY107" fmla="*/ 1683703 h 6858001"/>
              <a:gd name="connsiteX108" fmla="*/ 2982533 w 8009775"/>
              <a:gd name="connsiteY108" fmla="*/ 1678305 h 6858001"/>
              <a:gd name="connsiteX109" fmla="*/ 2985784 w 8009775"/>
              <a:gd name="connsiteY109" fmla="*/ 1673226 h 6858001"/>
              <a:gd name="connsiteX110" fmla="*/ 2989331 w 8009775"/>
              <a:gd name="connsiteY110" fmla="*/ 1668145 h 6858001"/>
              <a:gd name="connsiteX111" fmla="*/ 2992878 w 8009775"/>
              <a:gd name="connsiteY111" fmla="*/ 1663066 h 6858001"/>
              <a:gd name="connsiteX112" fmla="*/ 2997311 w 8009775"/>
              <a:gd name="connsiteY112" fmla="*/ 1658621 h 6858001"/>
              <a:gd name="connsiteX113" fmla="*/ 3001744 w 8009775"/>
              <a:gd name="connsiteY113" fmla="*/ 1653859 h 6858001"/>
              <a:gd name="connsiteX114" fmla="*/ 3006178 w 8009775"/>
              <a:gd name="connsiteY114" fmla="*/ 1649414 h 6858001"/>
              <a:gd name="connsiteX115" fmla="*/ 3010907 w 8009775"/>
              <a:gd name="connsiteY115" fmla="*/ 1645603 h 6858001"/>
              <a:gd name="connsiteX116" fmla="*/ 3015932 w 8009775"/>
              <a:gd name="connsiteY116" fmla="*/ 1641794 h 6858001"/>
              <a:gd name="connsiteX117" fmla="*/ 3020956 w 8009775"/>
              <a:gd name="connsiteY117" fmla="*/ 1637984 h 6858001"/>
              <a:gd name="connsiteX118" fmla="*/ 3025981 w 8009775"/>
              <a:gd name="connsiteY118" fmla="*/ 1634809 h 6858001"/>
              <a:gd name="connsiteX119" fmla="*/ 3031596 w 8009775"/>
              <a:gd name="connsiteY119" fmla="*/ 1631950 h 6858001"/>
              <a:gd name="connsiteX120" fmla="*/ 3036916 w 8009775"/>
              <a:gd name="connsiteY120" fmla="*/ 1629094 h 6858001"/>
              <a:gd name="connsiteX121" fmla="*/ 3042532 w 8009775"/>
              <a:gd name="connsiteY121" fmla="*/ 1626871 h 6858001"/>
              <a:gd name="connsiteX122" fmla="*/ 3047852 w 8009775"/>
              <a:gd name="connsiteY122" fmla="*/ 1624649 h 6858001"/>
              <a:gd name="connsiteX123" fmla="*/ 3053764 w 8009775"/>
              <a:gd name="connsiteY123" fmla="*/ 1623061 h 6858001"/>
              <a:gd name="connsiteX124" fmla="*/ 3059379 w 8009775"/>
              <a:gd name="connsiteY124" fmla="*/ 1621155 h 6858001"/>
              <a:gd name="connsiteX125" fmla="*/ 3065291 w 8009775"/>
              <a:gd name="connsiteY125" fmla="*/ 1620204 h 6858001"/>
              <a:gd name="connsiteX126" fmla="*/ 3070906 w 8009775"/>
              <a:gd name="connsiteY126" fmla="*/ 1618934 h 6858001"/>
              <a:gd name="connsiteX127" fmla="*/ 3077113 w 8009775"/>
              <a:gd name="connsiteY127" fmla="*/ 1618299 h 6858001"/>
              <a:gd name="connsiteX128" fmla="*/ 3082729 w 8009775"/>
              <a:gd name="connsiteY128" fmla="*/ 1617981 h 6858001"/>
              <a:gd name="connsiteX129" fmla="*/ 3088936 w 8009775"/>
              <a:gd name="connsiteY129" fmla="*/ 1617981 h 6858001"/>
              <a:gd name="connsiteX130" fmla="*/ 3094552 w 8009775"/>
              <a:gd name="connsiteY130" fmla="*/ 1617981 h 6858001"/>
              <a:gd name="connsiteX131" fmla="*/ 3100758 w 8009775"/>
              <a:gd name="connsiteY131" fmla="*/ 1618299 h 6858001"/>
              <a:gd name="connsiteX132" fmla="*/ 3106670 w 8009775"/>
              <a:gd name="connsiteY132" fmla="*/ 1618934 h 6858001"/>
              <a:gd name="connsiteX133" fmla="*/ 3112285 w 8009775"/>
              <a:gd name="connsiteY133" fmla="*/ 1620204 h 6858001"/>
              <a:gd name="connsiteX134" fmla="*/ 3117901 w 8009775"/>
              <a:gd name="connsiteY134" fmla="*/ 1621155 h 6858001"/>
              <a:gd name="connsiteX135" fmla="*/ 3123812 w 8009775"/>
              <a:gd name="connsiteY135" fmla="*/ 1623061 h 6858001"/>
              <a:gd name="connsiteX136" fmla="*/ 3129428 w 8009775"/>
              <a:gd name="connsiteY136" fmla="*/ 1624649 h 6858001"/>
              <a:gd name="connsiteX137" fmla="*/ 3135339 w 8009775"/>
              <a:gd name="connsiteY137" fmla="*/ 1626871 h 6858001"/>
              <a:gd name="connsiteX138" fmla="*/ 3140660 w 8009775"/>
              <a:gd name="connsiteY138" fmla="*/ 1629094 h 6858001"/>
              <a:gd name="connsiteX139" fmla="*/ 3145980 w 8009775"/>
              <a:gd name="connsiteY139" fmla="*/ 1631950 h 6858001"/>
              <a:gd name="connsiteX140" fmla="*/ 3151300 w 8009775"/>
              <a:gd name="connsiteY140" fmla="*/ 1634809 h 6858001"/>
              <a:gd name="connsiteX141" fmla="*/ 3156324 w 8009775"/>
              <a:gd name="connsiteY141" fmla="*/ 1637984 h 6858001"/>
              <a:gd name="connsiteX142" fmla="*/ 3161349 w 8009775"/>
              <a:gd name="connsiteY142" fmla="*/ 1641794 h 6858001"/>
              <a:gd name="connsiteX143" fmla="*/ 3166374 w 8009775"/>
              <a:gd name="connsiteY143" fmla="*/ 1645603 h 6858001"/>
              <a:gd name="connsiteX144" fmla="*/ 3171102 w 8009775"/>
              <a:gd name="connsiteY144" fmla="*/ 1649414 h 6858001"/>
              <a:gd name="connsiteX145" fmla="*/ 3175832 w 8009775"/>
              <a:gd name="connsiteY145" fmla="*/ 1653859 h 6858001"/>
              <a:gd name="connsiteX146" fmla="*/ 3844692 w 8009775"/>
              <a:gd name="connsiteY146" fmla="*/ 2322830 h 6858001"/>
              <a:gd name="connsiteX147" fmla="*/ 3849421 w 8009775"/>
              <a:gd name="connsiteY147" fmla="*/ 2326958 h 6858001"/>
              <a:gd name="connsiteX148" fmla="*/ 3854150 w 8009775"/>
              <a:gd name="connsiteY148" fmla="*/ 2331085 h 6858001"/>
              <a:gd name="connsiteX149" fmla="*/ 3859175 w 8009775"/>
              <a:gd name="connsiteY149" fmla="*/ 2334895 h 6858001"/>
              <a:gd name="connsiteX150" fmla="*/ 3864199 w 8009775"/>
              <a:gd name="connsiteY150" fmla="*/ 2338705 h 6858001"/>
              <a:gd name="connsiteX151" fmla="*/ 3869224 w 8009775"/>
              <a:gd name="connsiteY151" fmla="*/ 2341880 h 6858001"/>
              <a:gd name="connsiteX152" fmla="*/ 3874544 w 8009775"/>
              <a:gd name="connsiteY152" fmla="*/ 2344738 h 6858001"/>
              <a:gd name="connsiteX153" fmla="*/ 3879864 w 8009775"/>
              <a:gd name="connsiteY153" fmla="*/ 2347595 h 6858001"/>
              <a:gd name="connsiteX154" fmla="*/ 3885775 w 8009775"/>
              <a:gd name="connsiteY154" fmla="*/ 2349818 h 6858001"/>
              <a:gd name="connsiteX155" fmla="*/ 3891096 w 8009775"/>
              <a:gd name="connsiteY155" fmla="*/ 2351723 h 6858001"/>
              <a:gd name="connsiteX156" fmla="*/ 3896711 w 8009775"/>
              <a:gd name="connsiteY156" fmla="*/ 2353628 h 6858001"/>
              <a:gd name="connsiteX157" fmla="*/ 3902623 w 8009775"/>
              <a:gd name="connsiteY157" fmla="*/ 2355534 h 6858001"/>
              <a:gd name="connsiteX158" fmla="*/ 3908238 w 8009775"/>
              <a:gd name="connsiteY158" fmla="*/ 2356485 h 6858001"/>
              <a:gd name="connsiteX159" fmla="*/ 3914150 w 8009775"/>
              <a:gd name="connsiteY159" fmla="*/ 2357755 h 6858001"/>
              <a:gd name="connsiteX160" fmla="*/ 3920061 w 8009775"/>
              <a:gd name="connsiteY160" fmla="*/ 2358391 h 6858001"/>
              <a:gd name="connsiteX161" fmla="*/ 3925972 w 8009775"/>
              <a:gd name="connsiteY161" fmla="*/ 2358708 h 6858001"/>
              <a:gd name="connsiteX162" fmla="*/ 3931883 w 8009775"/>
              <a:gd name="connsiteY162" fmla="*/ 2358708 h 6858001"/>
              <a:gd name="connsiteX163" fmla="*/ 3937795 w 8009775"/>
              <a:gd name="connsiteY163" fmla="*/ 2358708 h 6858001"/>
              <a:gd name="connsiteX164" fmla="*/ 3943706 w 8009775"/>
              <a:gd name="connsiteY164" fmla="*/ 2358391 h 6858001"/>
              <a:gd name="connsiteX165" fmla="*/ 3949617 w 8009775"/>
              <a:gd name="connsiteY165" fmla="*/ 2357755 h 6858001"/>
              <a:gd name="connsiteX166" fmla="*/ 3955233 w 8009775"/>
              <a:gd name="connsiteY166" fmla="*/ 2356485 h 6858001"/>
              <a:gd name="connsiteX167" fmla="*/ 3961144 w 8009775"/>
              <a:gd name="connsiteY167" fmla="*/ 2355534 h 6858001"/>
              <a:gd name="connsiteX168" fmla="*/ 3966760 w 8009775"/>
              <a:gd name="connsiteY168" fmla="*/ 2353628 h 6858001"/>
              <a:gd name="connsiteX169" fmla="*/ 3972671 w 8009775"/>
              <a:gd name="connsiteY169" fmla="*/ 2351723 h 6858001"/>
              <a:gd name="connsiteX170" fmla="*/ 3978287 w 8009775"/>
              <a:gd name="connsiteY170" fmla="*/ 2349818 h 6858001"/>
              <a:gd name="connsiteX171" fmla="*/ 3983607 w 8009775"/>
              <a:gd name="connsiteY171" fmla="*/ 2347595 h 6858001"/>
              <a:gd name="connsiteX172" fmla="*/ 3989223 w 8009775"/>
              <a:gd name="connsiteY172" fmla="*/ 2344738 h 6858001"/>
              <a:gd name="connsiteX173" fmla="*/ 3994543 w 8009775"/>
              <a:gd name="connsiteY173" fmla="*/ 2341880 h 6858001"/>
              <a:gd name="connsiteX174" fmla="*/ 3999567 w 8009775"/>
              <a:gd name="connsiteY174" fmla="*/ 2338705 h 6858001"/>
              <a:gd name="connsiteX175" fmla="*/ 4004888 w 8009775"/>
              <a:gd name="connsiteY175" fmla="*/ 2334895 h 6858001"/>
              <a:gd name="connsiteX176" fmla="*/ 4009617 w 8009775"/>
              <a:gd name="connsiteY176" fmla="*/ 2331085 h 6858001"/>
              <a:gd name="connsiteX177" fmla="*/ 4014346 w 8009775"/>
              <a:gd name="connsiteY177" fmla="*/ 2326958 h 6858001"/>
              <a:gd name="connsiteX178" fmla="*/ 4018779 w 8009775"/>
              <a:gd name="connsiteY178" fmla="*/ 2322830 h 6858001"/>
              <a:gd name="connsiteX179" fmla="*/ 4023213 w 8009775"/>
              <a:gd name="connsiteY179" fmla="*/ 2318068 h 6858001"/>
              <a:gd name="connsiteX180" fmla="*/ 4027646 w 8009775"/>
              <a:gd name="connsiteY180" fmla="*/ 2313306 h 6858001"/>
              <a:gd name="connsiteX181" fmla="*/ 4031193 w 8009775"/>
              <a:gd name="connsiteY181" fmla="*/ 2308544 h 6858001"/>
              <a:gd name="connsiteX182" fmla="*/ 4034740 w 8009775"/>
              <a:gd name="connsiteY182" fmla="*/ 2303463 h 6858001"/>
              <a:gd name="connsiteX183" fmla="*/ 4037991 w 8009775"/>
              <a:gd name="connsiteY183" fmla="*/ 2298384 h 6858001"/>
              <a:gd name="connsiteX184" fmla="*/ 4040946 w 8009775"/>
              <a:gd name="connsiteY184" fmla="*/ 2292985 h 6858001"/>
              <a:gd name="connsiteX185" fmla="*/ 4043606 w 8009775"/>
              <a:gd name="connsiteY185" fmla="*/ 2287588 h 6858001"/>
              <a:gd name="connsiteX186" fmla="*/ 4046267 w 8009775"/>
              <a:gd name="connsiteY186" fmla="*/ 2281873 h 6858001"/>
              <a:gd name="connsiteX187" fmla="*/ 4048040 w 8009775"/>
              <a:gd name="connsiteY187" fmla="*/ 2276476 h 6858001"/>
              <a:gd name="connsiteX188" fmla="*/ 4050109 w 8009775"/>
              <a:gd name="connsiteY188" fmla="*/ 2270761 h 6858001"/>
              <a:gd name="connsiteX189" fmla="*/ 4051587 w 8009775"/>
              <a:gd name="connsiteY189" fmla="*/ 2265046 h 6858001"/>
              <a:gd name="connsiteX190" fmla="*/ 4052769 w 8009775"/>
              <a:gd name="connsiteY190" fmla="*/ 2259331 h 6858001"/>
              <a:gd name="connsiteX191" fmla="*/ 4053656 w 8009775"/>
              <a:gd name="connsiteY191" fmla="*/ 2253298 h 6858001"/>
              <a:gd name="connsiteX192" fmla="*/ 4054542 w 8009775"/>
              <a:gd name="connsiteY192" fmla="*/ 2247266 h 6858001"/>
              <a:gd name="connsiteX193" fmla="*/ 4054838 w 8009775"/>
              <a:gd name="connsiteY193" fmla="*/ 2241551 h 6858001"/>
              <a:gd name="connsiteX194" fmla="*/ 4055133 w 8009775"/>
              <a:gd name="connsiteY194" fmla="*/ 2235519 h 6858001"/>
              <a:gd name="connsiteX195" fmla="*/ 4054838 w 8009775"/>
              <a:gd name="connsiteY195" fmla="*/ 2229804 h 6858001"/>
              <a:gd name="connsiteX196" fmla="*/ 4054542 w 8009775"/>
              <a:gd name="connsiteY196" fmla="*/ 2223770 h 6858001"/>
              <a:gd name="connsiteX197" fmla="*/ 4053656 w 8009775"/>
              <a:gd name="connsiteY197" fmla="*/ 2217739 h 6858001"/>
              <a:gd name="connsiteX198" fmla="*/ 4052769 w 8009775"/>
              <a:gd name="connsiteY198" fmla="*/ 2212024 h 6858001"/>
              <a:gd name="connsiteX199" fmla="*/ 4051587 w 8009775"/>
              <a:gd name="connsiteY199" fmla="*/ 2206309 h 6858001"/>
              <a:gd name="connsiteX200" fmla="*/ 4050109 w 8009775"/>
              <a:gd name="connsiteY200" fmla="*/ 2200593 h 6858001"/>
              <a:gd name="connsiteX201" fmla="*/ 4048040 w 8009775"/>
              <a:gd name="connsiteY201" fmla="*/ 2194878 h 6858001"/>
              <a:gd name="connsiteX202" fmla="*/ 4046267 w 8009775"/>
              <a:gd name="connsiteY202" fmla="*/ 2189163 h 6858001"/>
              <a:gd name="connsiteX203" fmla="*/ 4043606 w 8009775"/>
              <a:gd name="connsiteY203" fmla="*/ 2183765 h 6858001"/>
              <a:gd name="connsiteX204" fmla="*/ 4040946 w 8009775"/>
              <a:gd name="connsiteY204" fmla="*/ 2178368 h 6858001"/>
              <a:gd name="connsiteX205" fmla="*/ 4037991 w 8009775"/>
              <a:gd name="connsiteY205" fmla="*/ 2172970 h 6858001"/>
              <a:gd name="connsiteX206" fmla="*/ 4034740 w 8009775"/>
              <a:gd name="connsiteY206" fmla="*/ 2167890 h 6858001"/>
              <a:gd name="connsiteX207" fmla="*/ 4031193 w 8009775"/>
              <a:gd name="connsiteY207" fmla="*/ 2162494 h 6858001"/>
              <a:gd name="connsiteX208" fmla="*/ 4027646 w 8009775"/>
              <a:gd name="connsiteY208" fmla="*/ 2157730 h 6858001"/>
              <a:gd name="connsiteX209" fmla="*/ 4023213 w 8009775"/>
              <a:gd name="connsiteY209" fmla="*/ 2153285 h 6858001"/>
              <a:gd name="connsiteX210" fmla="*/ 4018779 w 8009775"/>
              <a:gd name="connsiteY210" fmla="*/ 2148523 h 6858001"/>
              <a:gd name="connsiteX211" fmla="*/ 3632182 w 8009775"/>
              <a:gd name="connsiteY211" fmla="*/ 1761490 h 6858001"/>
              <a:gd name="connsiteX212" fmla="*/ 3435928 w 8009775"/>
              <a:gd name="connsiteY212" fmla="*/ 1565276 h 6858001"/>
              <a:gd name="connsiteX213" fmla="*/ 3431198 w 8009775"/>
              <a:gd name="connsiteY213" fmla="*/ 1560514 h 6858001"/>
              <a:gd name="connsiteX214" fmla="*/ 3427356 w 8009775"/>
              <a:gd name="connsiteY214" fmla="*/ 1555751 h 6858001"/>
              <a:gd name="connsiteX215" fmla="*/ 3423218 w 8009775"/>
              <a:gd name="connsiteY215" fmla="*/ 1550671 h 6858001"/>
              <a:gd name="connsiteX216" fmla="*/ 3420262 w 8009775"/>
              <a:gd name="connsiteY216" fmla="*/ 1545909 h 6858001"/>
              <a:gd name="connsiteX217" fmla="*/ 3417012 w 8009775"/>
              <a:gd name="connsiteY217" fmla="*/ 1540829 h 6858001"/>
              <a:gd name="connsiteX218" fmla="*/ 3413760 w 8009775"/>
              <a:gd name="connsiteY218" fmla="*/ 1535430 h 6858001"/>
              <a:gd name="connsiteX219" fmla="*/ 3411100 w 8009775"/>
              <a:gd name="connsiteY219" fmla="*/ 1530034 h 6858001"/>
              <a:gd name="connsiteX220" fmla="*/ 3408736 w 8009775"/>
              <a:gd name="connsiteY220" fmla="*/ 1524635 h 6858001"/>
              <a:gd name="connsiteX221" fmla="*/ 3406371 w 8009775"/>
              <a:gd name="connsiteY221" fmla="*/ 1518920 h 6858001"/>
              <a:gd name="connsiteX222" fmla="*/ 3404598 w 8009775"/>
              <a:gd name="connsiteY222" fmla="*/ 1513205 h 6858001"/>
              <a:gd name="connsiteX223" fmla="*/ 3403120 w 8009775"/>
              <a:gd name="connsiteY223" fmla="*/ 1507174 h 6858001"/>
              <a:gd name="connsiteX224" fmla="*/ 3401938 w 8009775"/>
              <a:gd name="connsiteY224" fmla="*/ 1501459 h 6858001"/>
              <a:gd name="connsiteX225" fmla="*/ 3401051 w 8009775"/>
              <a:gd name="connsiteY225" fmla="*/ 1495744 h 6858001"/>
              <a:gd name="connsiteX226" fmla="*/ 3400460 w 8009775"/>
              <a:gd name="connsiteY226" fmla="*/ 1489710 h 6858001"/>
              <a:gd name="connsiteX227" fmla="*/ 3399869 w 8009775"/>
              <a:gd name="connsiteY227" fmla="*/ 1483995 h 6858001"/>
              <a:gd name="connsiteX228" fmla="*/ 3399573 w 8009775"/>
              <a:gd name="connsiteY228" fmla="*/ 1478281 h 6858001"/>
              <a:gd name="connsiteX229" fmla="*/ 3399869 w 8009775"/>
              <a:gd name="connsiteY229" fmla="*/ 1472249 h 6858001"/>
              <a:gd name="connsiteX230" fmla="*/ 3400460 w 8009775"/>
              <a:gd name="connsiteY230" fmla="*/ 1466215 h 6858001"/>
              <a:gd name="connsiteX231" fmla="*/ 3401051 w 8009775"/>
              <a:gd name="connsiteY231" fmla="*/ 1460183 h 6858001"/>
              <a:gd name="connsiteX232" fmla="*/ 3401938 w 8009775"/>
              <a:gd name="connsiteY232" fmla="*/ 1454468 h 6858001"/>
              <a:gd name="connsiteX233" fmla="*/ 3403120 w 8009775"/>
              <a:gd name="connsiteY233" fmla="*/ 1448754 h 6858001"/>
              <a:gd name="connsiteX234" fmla="*/ 3404598 w 8009775"/>
              <a:gd name="connsiteY234" fmla="*/ 1443039 h 6858001"/>
              <a:gd name="connsiteX235" fmla="*/ 3406371 w 8009775"/>
              <a:gd name="connsiteY235" fmla="*/ 1437324 h 6858001"/>
              <a:gd name="connsiteX236" fmla="*/ 3408736 w 8009775"/>
              <a:gd name="connsiteY236" fmla="*/ 1431609 h 6858001"/>
              <a:gd name="connsiteX237" fmla="*/ 3411100 w 8009775"/>
              <a:gd name="connsiteY237" fmla="*/ 1426211 h 6858001"/>
              <a:gd name="connsiteX238" fmla="*/ 3413760 w 8009775"/>
              <a:gd name="connsiteY238" fmla="*/ 1420814 h 6858001"/>
              <a:gd name="connsiteX239" fmla="*/ 3417012 w 8009775"/>
              <a:gd name="connsiteY239" fmla="*/ 1415416 h 6858001"/>
              <a:gd name="connsiteX240" fmla="*/ 3420262 w 8009775"/>
              <a:gd name="connsiteY240" fmla="*/ 1410336 h 6858001"/>
              <a:gd name="connsiteX241" fmla="*/ 3423218 w 8009775"/>
              <a:gd name="connsiteY241" fmla="*/ 1405256 h 6858001"/>
              <a:gd name="connsiteX242" fmla="*/ 3427356 w 8009775"/>
              <a:gd name="connsiteY242" fmla="*/ 1400175 h 6858001"/>
              <a:gd name="connsiteX243" fmla="*/ 3431198 w 8009775"/>
              <a:gd name="connsiteY243" fmla="*/ 1395731 h 6858001"/>
              <a:gd name="connsiteX244" fmla="*/ 3435928 w 8009775"/>
              <a:gd name="connsiteY244" fmla="*/ 1390969 h 6858001"/>
              <a:gd name="connsiteX245" fmla="*/ 3440361 w 8009775"/>
              <a:gd name="connsiteY245" fmla="*/ 1386524 h 6858001"/>
              <a:gd name="connsiteX246" fmla="*/ 3445386 w 8009775"/>
              <a:gd name="connsiteY246" fmla="*/ 1382396 h 6858001"/>
              <a:gd name="connsiteX247" fmla="*/ 3449819 w 8009775"/>
              <a:gd name="connsiteY247" fmla="*/ 1378585 h 6858001"/>
              <a:gd name="connsiteX248" fmla="*/ 3454844 w 8009775"/>
              <a:gd name="connsiteY248" fmla="*/ 1375094 h 6858001"/>
              <a:gd name="connsiteX249" fmla="*/ 3460459 w 8009775"/>
              <a:gd name="connsiteY249" fmla="*/ 1371919 h 6858001"/>
              <a:gd name="connsiteX250" fmla="*/ 3465780 w 8009775"/>
              <a:gd name="connsiteY250" fmla="*/ 1369061 h 6858001"/>
              <a:gd name="connsiteX251" fmla="*/ 3471100 w 8009775"/>
              <a:gd name="connsiteY251" fmla="*/ 1366204 h 6858001"/>
              <a:gd name="connsiteX252" fmla="*/ 3476420 w 8009775"/>
              <a:gd name="connsiteY252" fmla="*/ 1363980 h 6858001"/>
              <a:gd name="connsiteX253" fmla="*/ 3482331 w 8009775"/>
              <a:gd name="connsiteY253" fmla="*/ 1361759 h 6858001"/>
              <a:gd name="connsiteX254" fmla="*/ 3487947 w 8009775"/>
              <a:gd name="connsiteY254" fmla="*/ 1360170 h 6858001"/>
              <a:gd name="connsiteX255" fmla="*/ 3493858 w 8009775"/>
              <a:gd name="connsiteY255" fmla="*/ 1358265 h 6858001"/>
              <a:gd name="connsiteX256" fmla="*/ 3499474 w 8009775"/>
              <a:gd name="connsiteY256" fmla="*/ 1357314 h 6858001"/>
              <a:gd name="connsiteX257" fmla="*/ 3505385 w 8009775"/>
              <a:gd name="connsiteY257" fmla="*/ 1356043 h 6858001"/>
              <a:gd name="connsiteX258" fmla="*/ 3511001 w 8009775"/>
              <a:gd name="connsiteY258" fmla="*/ 1355409 h 6858001"/>
              <a:gd name="connsiteX259" fmla="*/ 3517208 w 8009775"/>
              <a:gd name="connsiteY259" fmla="*/ 1355090 h 6858001"/>
              <a:gd name="connsiteX260" fmla="*/ 3522823 w 8009775"/>
              <a:gd name="connsiteY260" fmla="*/ 1354773 h 6858001"/>
              <a:gd name="connsiteX261" fmla="*/ 3529030 w 8009775"/>
              <a:gd name="connsiteY261" fmla="*/ 1355090 h 6858001"/>
              <a:gd name="connsiteX262" fmla="*/ 3534646 w 8009775"/>
              <a:gd name="connsiteY262" fmla="*/ 1355409 h 6858001"/>
              <a:gd name="connsiteX263" fmla="*/ 3540557 w 8009775"/>
              <a:gd name="connsiteY263" fmla="*/ 1356043 h 6858001"/>
              <a:gd name="connsiteX264" fmla="*/ 3546468 w 8009775"/>
              <a:gd name="connsiteY264" fmla="*/ 1357314 h 6858001"/>
              <a:gd name="connsiteX265" fmla="*/ 3552380 w 8009775"/>
              <a:gd name="connsiteY265" fmla="*/ 1358265 h 6858001"/>
              <a:gd name="connsiteX266" fmla="*/ 3557995 w 8009775"/>
              <a:gd name="connsiteY266" fmla="*/ 1360170 h 6858001"/>
              <a:gd name="connsiteX267" fmla="*/ 3563906 w 8009775"/>
              <a:gd name="connsiteY267" fmla="*/ 1361759 h 6858001"/>
              <a:gd name="connsiteX268" fmla="*/ 3569227 w 8009775"/>
              <a:gd name="connsiteY268" fmla="*/ 1363980 h 6858001"/>
              <a:gd name="connsiteX269" fmla="*/ 3574842 w 8009775"/>
              <a:gd name="connsiteY269" fmla="*/ 1366204 h 6858001"/>
              <a:gd name="connsiteX270" fmla="*/ 3580458 w 8009775"/>
              <a:gd name="connsiteY270" fmla="*/ 1369061 h 6858001"/>
              <a:gd name="connsiteX271" fmla="*/ 3585778 w 8009775"/>
              <a:gd name="connsiteY271" fmla="*/ 1371919 h 6858001"/>
              <a:gd name="connsiteX272" fmla="*/ 3590803 w 8009775"/>
              <a:gd name="connsiteY272" fmla="*/ 1375094 h 6858001"/>
              <a:gd name="connsiteX273" fmla="*/ 3595828 w 8009775"/>
              <a:gd name="connsiteY273" fmla="*/ 1378585 h 6858001"/>
              <a:gd name="connsiteX274" fmla="*/ 3600852 w 8009775"/>
              <a:gd name="connsiteY274" fmla="*/ 1382396 h 6858001"/>
              <a:gd name="connsiteX275" fmla="*/ 3605581 w 8009775"/>
              <a:gd name="connsiteY275" fmla="*/ 1386524 h 6858001"/>
              <a:gd name="connsiteX276" fmla="*/ 3610014 w 8009775"/>
              <a:gd name="connsiteY276" fmla="*/ 1390969 h 6858001"/>
              <a:gd name="connsiteX277" fmla="*/ 3817500 w 8009775"/>
              <a:gd name="connsiteY277" fmla="*/ 1598296 h 6858001"/>
              <a:gd name="connsiteX278" fmla="*/ 3821934 w 8009775"/>
              <a:gd name="connsiteY278" fmla="*/ 1602423 h 6858001"/>
              <a:gd name="connsiteX279" fmla="*/ 3826663 w 8009775"/>
              <a:gd name="connsiteY279" fmla="*/ 1606869 h 6858001"/>
              <a:gd name="connsiteX280" fmla="*/ 3831687 w 8009775"/>
              <a:gd name="connsiteY280" fmla="*/ 1610361 h 6858001"/>
              <a:gd name="connsiteX281" fmla="*/ 3836712 w 8009775"/>
              <a:gd name="connsiteY281" fmla="*/ 1613854 h 6858001"/>
              <a:gd name="connsiteX282" fmla="*/ 3841736 w 8009775"/>
              <a:gd name="connsiteY282" fmla="*/ 1617345 h 6858001"/>
              <a:gd name="connsiteX283" fmla="*/ 3847352 w 8009775"/>
              <a:gd name="connsiteY283" fmla="*/ 1620204 h 6858001"/>
              <a:gd name="connsiteX284" fmla="*/ 3852672 w 8009775"/>
              <a:gd name="connsiteY284" fmla="*/ 1623061 h 6858001"/>
              <a:gd name="connsiteX285" fmla="*/ 3857992 w 8009775"/>
              <a:gd name="connsiteY285" fmla="*/ 1625283 h 6858001"/>
              <a:gd name="connsiteX286" fmla="*/ 3863608 w 8009775"/>
              <a:gd name="connsiteY286" fmla="*/ 1627189 h 6858001"/>
              <a:gd name="connsiteX287" fmla="*/ 3869519 w 8009775"/>
              <a:gd name="connsiteY287" fmla="*/ 1629094 h 6858001"/>
              <a:gd name="connsiteX288" fmla="*/ 3875135 w 8009775"/>
              <a:gd name="connsiteY288" fmla="*/ 1630998 h 6858001"/>
              <a:gd name="connsiteX289" fmla="*/ 3881046 w 8009775"/>
              <a:gd name="connsiteY289" fmla="*/ 1631950 h 6858001"/>
              <a:gd name="connsiteX290" fmla="*/ 3886662 w 8009775"/>
              <a:gd name="connsiteY290" fmla="*/ 1632904 h 6858001"/>
              <a:gd name="connsiteX291" fmla="*/ 3892869 w 8009775"/>
              <a:gd name="connsiteY291" fmla="*/ 1633856 h 6858001"/>
              <a:gd name="connsiteX292" fmla="*/ 3898485 w 8009775"/>
              <a:gd name="connsiteY292" fmla="*/ 1634174 h 6858001"/>
              <a:gd name="connsiteX293" fmla="*/ 3904396 w 8009775"/>
              <a:gd name="connsiteY293" fmla="*/ 1634174 h 6858001"/>
              <a:gd name="connsiteX294" fmla="*/ 3910307 w 8009775"/>
              <a:gd name="connsiteY294" fmla="*/ 1634174 h 6858001"/>
              <a:gd name="connsiteX295" fmla="*/ 3916219 w 8009775"/>
              <a:gd name="connsiteY295" fmla="*/ 1633856 h 6858001"/>
              <a:gd name="connsiteX296" fmla="*/ 3922425 w 8009775"/>
              <a:gd name="connsiteY296" fmla="*/ 1632904 h 6858001"/>
              <a:gd name="connsiteX297" fmla="*/ 3928041 w 8009775"/>
              <a:gd name="connsiteY297" fmla="*/ 1631950 h 6858001"/>
              <a:gd name="connsiteX298" fmla="*/ 3933657 w 8009775"/>
              <a:gd name="connsiteY298" fmla="*/ 1630998 h 6858001"/>
              <a:gd name="connsiteX299" fmla="*/ 3939568 w 8009775"/>
              <a:gd name="connsiteY299" fmla="*/ 1629094 h 6858001"/>
              <a:gd name="connsiteX300" fmla="*/ 3945184 w 8009775"/>
              <a:gd name="connsiteY300" fmla="*/ 1627189 h 6858001"/>
              <a:gd name="connsiteX301" fmla="*/ 3950799 w 8009775"/>
              <a:gd name="connsiteY301" fmla="*/ 1625283 h 6858001"/>
              <a:gd name="connsiteX302" fmla="*/ 3956415 w 8009775"/>
              <a:gd name="connsiteY302" fmla="*/ 1623061 h 6858001"/>
              <a:gd name="connsiteX303" fmla="*/ 3961735 w 8009775"/>
              <a:gd name="connsiteY303" fmla="*/ 1620204 h 6858001"/>
              <a:gd name="connsiteX304" fmla="*/ 3967055 w 8009775"/>
              <a:gd name="connsiteY304" fmla="*/ 1617345 h 6858001"/>
              <a:gd name="connsiteX305" fmla="*/ 3972376 w 8009775"/>
              <a:gd name="connsiteY305" fmla="*/ 1613854 h 6858001"/>
              <a:gd name="connsiteX306" fmla="*/ 3977400 w 8009775"/>
              <a:gd name="connsiteY306" fmla="*/ 1610361 h 6858001"/>
              <a:gd name="connsiteX307" fmla="*/ 3982425 w 8009775"/>
              <a:gd name="connsiteY307" fmla="*/ 1606869 h 6858001"/>
              <a:gd name="connsiteX308" fmla="*/ 3986858 w 8009775"/>
              <a:gd name="connsiteY308" fmla="*/ 1602423 h 6858001"/>
              <a:gd name="connsiteX309" fmla="*/ 3991587 w 8009775"/>
              <a:gd name="connsiteY309" fmla="*/ 1598296 h 6858001"/>
              <a:gd name="connsiteX310" fmla="*/ 3996021 w 8009775"/>
              <a:gd name="connsiteY310" fmla="*/ 1593533 h 6858001"/>
              <a:gd name="connsiteX311" fmla="*/ 4000159 w 8009775"/>
              <a:gd name="connsiteY311" fmla="*/ 1588771 h 6858001"/>
              <a:gd name="connsiteX312" fmla="*/ 4003705 w 8009775"/>
              <a:gd name="connsiteY312" fmla="*/ 1583691 h 6858001"/>
              <a:gd name="connsiteX313" fmla="*/ 4007548 w 8009775"/>
              <a:gd name="connsiteY313" fmla="*/ 1578928 h 6858001"/>
              <a:gd name="connsiteX314" fmla="*/ 4010799 w 8009775"/>
              <a:gd name="connsiteY314" fmla="*/ 1573849 h 6858001"/>
              <a:gd name="connsiteX315" fmla="*/ 4013459 w 8009775"/>
              <a:gd name="connsiteY315" fmla="*/ 1568451 h 6858001"/>
              <a:gd name="connsiteX316" fmla="*/ 4016415 w 8009775"/>
              <a:gd name="connsiteY316" fmla="*/ 1563054 h 6858001"/>
              <a:gd name="connsiteX317" fmla="*/ 4018484 w 8009775"/>
              <a:gd name="connsiteY317" fmla="*/ 1557339 h 6858001"/>
              <a:gd name="connsiteX318" fmla="*/ 4020848 w 8009775"/>
              <a:gd name="connsiteY318" fmla="*/ 1551941 h 6858001"/>
              <a:gd name="connsiteX319" fmla="*/ 4022621 w 8009775"/>
              <a:gd name="connsiteY319" fmla="*/ 1546226 h 6858001"/>
              <a:gd name="connsiteX320" fmla="*/ 4024395 w 8009775"/>
              <a:gd name="connsiteY320" fmla="*/ 1540511 h 6858001"/>
              <a:gd name="connsiteX321" fmla="*/ 4025282 w 8009775"/>
              <a:gd name="connsiteY321" fmla="*/ 1534478 h 6858001"/>
              <a:gd name="connsiteX322" fmla="*/ 4026464 w 8009775"/>
              <a:gd name="connsiteY322" fmla="*/ 1528763 h 6858001"/>
              <a:gd name="connsiteX323" fmla="*/ 4027055 w 8009775"/>
              <a:gd name="connsiteY323" fmla="*/ 1522731 h 6858001"/>
              <a:gd name="connsiteX324" fmla="*/ 4027646 w 8009775"/>
              <a:gd name="connsiteY324" fmla="*/ 1517016 h 6858001"/>
              <a:gd name="connsiteX325" fmla="*/ 4027646 w 8009775"/>
              <a:gd name="connsiteY325" fmla="*/ 1510984 h 6858001"/>
              <a:gd name="connsiteX326" fmla="*/ 4027646 w 8009775"/>
              <a:gd name="connsiteY326" fmla="*/ 1505268 h 6858001"/>
              <a:gd name="connsiteX327" fmla="*/ 4027055 w 8009775"/>
              <a:gd name="connsiteY327" fmla="*/ 1499553 h 6858001"/>
              <a:gd name="connsiteX328" fmla="*/ 4026464 w 8009775"/>
              <a:gd name="connsiteY328" fmla="*/ 1493204 h 6858001"/>
              <a:gd name="connsiteX329" fmla="*/ 4025282 w 8009775"/>
              <a:gd name="connsiteY329" fmla="*/ 1487489 h 6858001"/>
              <a:gd name="connsiteX330" fmla="*/ 4024395 w 8009775"/>
              <a:gd name="connsiteY330" fmla="*/ 1481773 h 6858001"/>
              <a:gd name="connsiteX331" fmla="*/ 4022621 w 8009775"/>
              <a:gd name="connsiteY331" fmla="*/ 1476058 h 6858001"/>
              <a:gd name="connsiteX332" fmla="*/ 4020848 w 8009775"/>
              <a:gd name="connsiteY332" fmla="*/ 1470343 h 6858001"/>
              <a:gd name="connsiteX333" fmla="*/ 4018484 w 8009775"/>
              <a:gd name="connsiteY333" fmla="*/ 1464629 h 6858001"/>
              <a:gd name="connsiteX334" fmla="*/ 4016415 w 8009775"/>
              <a:gd name="connsiteY334" fmla="*/ 1459231 h 6858001"/>
              <a:gd name="connsiteX335" fmla="*/ 4013459 w 8009775"/>
              <a:gd name="connsiteY335" fmla="*/ 1453834 h 6858001"/>
              <a:gd name="connsiteX336" fmla="*/ 4010799 w 8009775"/>
              <a:gd name="connsiteY336" fmla="*/ 1448436 h 6858001"/>
              <a:gd name="connsiteX337" fmla="*/ 4007548 w 8009775"/>
              <a:gd name="connsiteY337" fmla="*/ 1443356 h 6858001"/>
              <a:gd name="connsiteX338" fmla="*/ 4003705 w 8009775"/>
              <a:gd name="connsiteY338" fmla="*/ 1438275 h 6858001"/>
              <a:gd name="connsiteX339" fmla="*/ 4000159 w 8009775"/>
              <a:gd name="connsiteY339" fmla="*/ 1433195 h 6858001"/>
              <a:gd name="connsiteX340" fmla="*/ 3996021 w 8009775"/>
              <a:gd name="connsiteY340" fmla="*/ 1428751 h 6858001"/>
              <a:gd name="connsiteX341" fmla="*/ 3991587 w 8009775"/>
              <a:gd name="connsiteY341" fmla="*/ 1423988 h 6858001"/>
              <a:gd name="connsiteX342" fmla="*/ 3323022 w 8009775"/>
              <a:gd name="connsiteY342" fmla="*/ 755333 h 6858001"/>
              <a:gd name="connsiteX343" fmla="*/ 3316815 w 8009775"/>
              <a:gd name="connsiteY343" fmla="*/ 748348 h 6858001"/>
              <a:gd name="connsiteX344" fmla="*/ 3310904 w 8009775"/>
              <a:gd name="connsiteY344" fmla="*/ 741045 h 6858001"/>
              <a:gd name="connsiteX345" fmla="*/ 3305584 w 8009775"/>
              <a:gd name="connsiteY345" fmla="*/ 733108 h 6858001"/>
              <a:gd name="connsiteX346" fmla="*/ 3300855 w 8009775"/>
              <a:gd name="connsiteY346" fmla="*/ 725170 h 6858001"/>
              <a:gd name="connsiteX347" fmla="*/ 3297308 w 8009775"/>
              <a:gd name="connsiteY347" fmla="*/ 716915 h 6858001"/>
              <a:gd name="connsiteX348" fmla="*/ 3293761 w 8009775"/>
              <a:gd name="connsiteY348" fmla="*/ 708660 h 6858001"/>
              <a:gd name="connsiteX349" fmla="*/ 3291101 w 8009775"/>
              <a:gd name="connsiteY349" fmla="*/ 699770 h 6858001"/>
              <a:gd name="connsiteX350" fmla="*/ 3289328 w 8009775"/>
              <a:gd name="connsiteY350" fmla="*/ 691198 h 6858001"/>
              <a:gd name="connsiteX351" fmla="*/ 2596527 w 8009775"/>
              <a:gd name="connsiteY351" fmla="*/ 0 h 6858001"/>
              <a:gd name="connsiteX0" fmla="*/ 2596527 w 8009775"/>
              <a:gd name="connsiteY0" fmla="*/ 0 h 6858001"/>
              <a:gd name="connsiteX1" fmla="*/ 2165004 w 8009775"/>
              <a:gd name="connsiteY1" fmla="*/ 0 h 6858001"/>
              <a:gd name="connsiteX2" fmla="*/ 3265978 w 8009775"/>
              <a:gd name="connsiteY2" fmla="*/ 1101091 h 6858001"/>
              <a:gd name="connsiteX3" fmla="*/ 3270708 w 8009775"/>
              <a:gd name="connsiteY3" fmla="*/ 1105854 h 6858001"/>
              <a:gd name="connsiteX4" fmla="*/ 3274550 w 8009775"/>
              <a:gd name="connsiteY4" fmla="*/ 1110615 h 6858001"/>
              <a:gd name="connsiteX5" fmla="*/ 3278688 w 8009775"/>
              <a:gd name="connsiteY5" fmla="*/ 1115696 h 6858001"/>
              <a:gd name="connsiteX6" fmla="*/ 3282234 w 8009775"/>
              <a:gd name="connsiteY6" fmla="*/ 1120776 h 6858001"/>
              <a:gd name="connsiteX7" fmla="*/ 3285486 w 8009775"/>
              <a:gd name="connsiteY7" fmla="*/ 1126174 h 6858001"/>
              <a:gd name="connsiteX8" fmla="*/ 3288146 w 8009775"/>
              <a:gd name="connsiteY8" fmla="*/ 1131570 h 6858001"/>
              <a:gd name="connsiteX9" fmla="*/ 3291101 w 8009775"/>
              <a:gd name="connsiteY9" fmla="*/ 1136968 h 6858001"/>
              <a:gd name="connsiteX10" fmla="*/ 3293761 w 8009775"/>
              <a:gd name="connsiteY10" fmla="*/ 1142366 h 6858001"/>
              <a:gd name="connsiteX11" fmla="*/ 3295830 w 8009775"/>
              <a:gd name="connsiteY11" fmla="*/ 1148081 h 6858001"/>
              <a:gd name="connsiteX12" fmla="*/ 3297604 w 8009775"/>
              <a:gd name="connsiteY12" fmla="*/ 1153796 h 6858001"/>
              <a:gd name="connsiteX13" fmla="*/ 3299082 w 8009775"/>
              <a:gd name="connsiteY13" fmla="*/ 1159829 h 6858001"/>
              <a:gd name="connsiteX14" fmla="*/ 3300559 w 8009775"/>
              <a:gd name="connsiteY14" fmla="*/ 1165544 h 6858001"/>
              <a:gd name="connsiteX15" fmla="*/ 3301446 w 8009775"/>
              <a:gd name="connsiteY15" fmla="*/ 1171893 h 6858001"/>
              <a:gd name="connsiteX16" fmla="*/ 3302333 w 8009775"/>
              <a:gd name="connsiteY16" fmla="*/ 1177608 h 6858001"/>
              <a:gd name="connsiteX17" fmla="*/ 3302628 w 8009775"/>
              <a:gd name="connsiteY17" fmla="*/ 1183641 h 6858001"/>
              <a:gd name="connsiteX18" fmla="*/ 3302628 w 8009775"/>
              <a:gd name="connsiteY18" fmla="*/ 1189356 h 6858001"/>
              <a:gd name="connsiteX19" fmla="*/ 3302628 w 8009775"/>
              <a:gd name="connsiteY19" fmla="*/ 1195388 h 6858001"/>
              <a:gd name="connsiteX20" fmla="*/ 3302333 w 8009775"/>
              <a:gd name="connsiteY20" fmla="*/ 1201739 h 6858001"/>
              <a:gd name="connsiteX21" fmla="*/ 3301446 w 8009775"/>
              <a:gd name="connsiteY21" fmla="*/ 1207454 h 6858001"/>
              <a:gd name="connsiteX22" fmla="*/ 3300559 w 8009775"/>
              <a:gd name="connsiteY22" fmla="*/ 1213486 h 6858001"/>
              <a:gd name="connsiteX23" fmla="*/ 3299082 w 8009775"/>
              <a:gd name="connsiteY23" fmla="*/ 1219200 h 6858001"/>
              <a:gd name="connsiteX24" fmla="*/ 3297604 w 8009775"/>
              <a:gd name="connsiteY24" fmla="*/ 1225233 h 6858001"/>
              <a:gd name="connsiteX25" fmla="*/ 3295830 w 8009775"/>
              <a:gd name="connsiteY25" fmla="*/ 1230949 h 6858001"/>
              <a:gd name="connsiteX26" fmla="*/ 3293761 w 8009775"/>
              <a:gd name="connsiteY26" fmla="*/ 1236346 h 6858001"/>
              <a:gd name="connsiteX27" fmla="*/ 3291101 w 8009775"/>
              <a:gd name="connsiteY27" fmla="*/ 1242061 h 6858001"/>
              <a:gd name="connsiteX28" fmla="*/ 3288146 w 8009775"/>
              <a:gd name="connsiteY28" fmla="*/ 1247459 h 6858001"/>
              <a:gd name="connsiteX29" fmla="*/ 3285486 w 8009775"/>
              <a:gd name="connsiteY29" fmla="*/ 1252855 h 6858001"/>
              <a:gd name="connsiteX30" fmla="*/ 3282234 w 8009775"/>
              <a:gd name="connsiteY30" fmla="*/ 1258254 h 6858001"/>
              <a:gd name="connsiteX31" fmla="*/ 3278688 w 8009775"/>
              <a:gd name="connsiteY31" fmla="*/ 1263333 h 6858001"/>
              <a:gd name="connsiteX32" fmla="*/ 3274550 w 8009775"/>
              <a:gd name="connsiteY32" fmla="*/ 1268413 h 6858001"/>
              <a:gd name="connsiteX33" fmla="*/ 3270708 w 8009775"/>
              <a:gd name="connsiteY33" fmla="*/ 1273494 h 6858001"/>
              <a:gd name="connsiteX34" fmla="*/ 3265978 w 8009775"/>
              <a:gd name="connsiteY34" fmla="*/ 1278255 h 6858001"/>
              <a:gd name="connsiteX35" fmla="*/ 3261249 w 8009775"/>
              <a:gd name="connsiteY35" fmla="*/ 1282384 h 6858001"/>
              <a:gd name="connsiteX36" fmla="*/ 3256816 w 8009775"/>
              <a:gd name="connsiteY36" fmla="*/ 1286510 h 6858001"/>
              <a:gd name="connsiteX37" fmla="*/ 3251791 w 8009775"/>
              <a:gd name="connsiteY37" fmla="*/ 1290321 h 6858001"/>
              <a:gd name="connsiteX38" fmla="*/ 3246767 w 8009775"/>
              <a:gd name="connsiteY38" fmla="*/ 1293814 h 6858001"/>
              <a:gd name="connsiteX39" fmla="*/ 3241151 w 8009775"/>
              <a:gd name="connsiteY39" fmla="*/ 1297306 h 6858001"/>
              <a:gd name="connsiteX40" fmla="*/ 3235831 w 8009775"/>
              <a:gd name="connsiteY40" fmla="*/ 1300481 h 6858001"/>
              <a:gd name="connsiteX41" fmla="*/ 3230511 w 8009775"/>
              <a:gd name="connsiteY41" fmla="*/ 1303021 h 6858001"/>
              <a:gd name="connsiteX42" fmla="*/ 3224600 w 8009775"/>
              <a:gd name="connsiteY42" fmla="*/ 1305560 h 6858001"/>
              <a:gd name="connsiteX43" fmla="*/ 3218984 w 8009775"/>
              <a:gd name="connsiteY43" fmla="*/ 1307465 h 6858001"/>
              <a:gd name="connsiteX44" fmla="*/ 3213072 w 8009775"/>
              <a:gd name="connsiteY44" fmla="*/ 1309371 h 6858001"/>
              <a:gd name="connsiteX45" fmla="*/ 3207457 w 8009775"/>
              <a:gd name="connsiteY45" fmla="*/ 1311275 h 6858001"/>
              <a:gd name="connsiteX46" fmla="*/ 3201841 w 8009775"/>
              <a:gd name="connsiteY46" fmla="*/ 1312228 h 6858001"/>
              <a:gd name="connsiteX47" fmla="*/ 3195634 w 8009775"/>
              <a:gd name="connsiteY47" fmla="*/ 1313180 h 6858001"/>
              <a:gd name="connsiteX48" fmla="*/ 3189428 w 8009775"/>
              <a:gd name="connsiteY48" fmla="*/ 1314133 h 6858001"/>
              <a:gd name="connsiteX49" fmla="*/ 3183812 w 8009775"/>
              <a:gd name="connsiteY49" fmla="*/ 1314450 h 6858001"/>
              <a:gd name="connsiteX50" fmla="*/ 3177605 w 8009775"/>
              <a:gd name="connsiteY50" fmla="*/ 1314769 h 6858001"/>
              <a:gd name="connsiteX51" fmla="*/ 3171694 w 8009775"/>
              <a:gd name="connsiteY51" fmla="*/ 1314450 h 6858001"/>
              <a:gd name="connsiteX52" fmla="*/ 3165782 w 8009775"/>
              <a:gd name="connsiteY52" fmla="*/ 1314133 h 6858001"/>
              <a:gd name="connsiteX53" fmla="*/ 3159576 w 8009775"/>
              <a:gd name="connsiteY53" fmla="*/ 1313180 h 6858001"/>
              <a:gd name="connsiteX54" fmla="*/ 3153960 w 8009775"/>
              <a:gd name="connsiteY54" fmla="*/ 1312228 h 6858001"/>
              <a:gd name="connsiteX55" fmla="*/ 3147753 w 8009775"/>
              <a:gd name="connsiteY55" fmla="*/ 1311275 h 6858001"/>
              <a:gd name="connsiteX56" fmla="*/ 3142137 w 8009775"/>
              <a:gd name="connsiteY56" fmla="*/ 1309371 h 6858001"/>
              <a:gd name="connsiteX57" fmla="*/ 3136226 w 8009775"/>
              <a:gd name="connsiteY57" fmla="*/ 1307465 h 6858001"/>
              <a:gd name="connsiteX58" fmla="*/ 3130610 w 8009775"/>
              <a:gd name="connsiteY58" fmla="*/ 1305560 h 6858001"/>
              <a:gd name="connsiteX59" fmla="*/ 3124994 w 8009775"/>
              <a:gd name="connsiteY59" fmla="*/ 1303021 h 6858001"/>
              <a:gd name="connsiteX60" fmla="*/ 3119379 w 8009775"/>
              <a:gd name="connsiteY60" fmla="*/ 1300481 h 6858001"/>
              <a:gd name="connsiteX61" fmla="*/ 3114059 w 8009775"/>
              <a:gd name="connsiteY61" fmla="*/ 1297306 h 6858001"/>
              <a:gd name="connsiteX62" fmla="*/ 3109034 w 8009775"/>
              <a:gd name="connsiteY62" fmla="*/ 1293814 h 6858001"/>
              <a:gd name="connsiteX63" fmla="*/ 3103714 w 8009775"/>
              <a:gd name="connsiteY63" fmla="*/ 1290321 h 6858001"/>
              <a:gd name="connsiteX64" fmla="*/ 3098689 w 8009775"/>
              <a:gd name="connsiteY64" fmla="*/ 1286510 h 6858001"/>
              <a:gd name="connsiteX65" fmla="*/ 3093960 w 8009775"/>
              <a:gd name="connsiteY65" fmla="*/ 1282384 h 6858001"/>
              <a:gd name="connsiteX66" fmla="*/ 3089231 w 8009775"/>
              <a:gd name="connsiteY66" fmla="*/ 1278255 h 6858001"/>
              <a:gd name="connsiteX67" fmla="*/ 1811214 w 8009775"/>
              <a:gd name="connsiteY67" fmla="*/ 0 h 6858001"/>
              <a:gd name="connsiteX68" fmla="*/ 551808 w 8009775"/>
              <a:gd name="connsiteY68" fmla="*/ 0 h 6858001"/>
              <a:gd name="connsiteX69" fmla="*/ 408933 w 8009775"/>
              <a:gd name="connsiteY69" fmla="*/ 0 h 6858001"/>
              <a:gd name="connsiteX70" fmla="*/ 55488 w 8009775"/>
              <a:gd name="connsiteY70" fmla="*/ 0 h 6858001"/>
              <a:gd name="connsiteX71" fmla="*/ 0 w 8009775"/>
              <a:gd name="connsiteY71" fmla="*/ 0 h 6858001"/>
              <a:gd name="connsiteX72" fmla="*/ 0 w 8009775"/>
              <a:gd name="connsiteY72" fmla="*/ 6858000 h 6858001"/>
              <a:gd name="connsiteX73" fmla="*/ 7507651 w 8009775"/>
              <a:gd name="connsiteY73" fmla="*/ 6858001 h 6858001"/>
              <a:gd name="connsiteX74" fmla="*/ 8009775 w 8009775"/>
              <a:gd name="connsiteY74" fmla="*/ 6858000 h 6858001"/>
              <a:gd name="connsiteX75" fmla="*/ 3996316 w 8009775"/>
              <a:gd name="connsiteY75" fmla="*/ 2818448 h 6858001"/>
              <a:gd name="connsiteX76" fmla="*/ 3980947 w 8009775"/>
              <a:gd name="connsiteY76" fmla="*/ 2804795 h 6858001"/>
              <a:gd name="connsiteX77" fmla="*/ 3965282 w 8009775"/>
              <a:gd name="connsiteY77" fmla="*/ 2791144 h 6858001"/>
              <a:gd name="connsiteX78" fmla="*/ 3950799 w 8009775"/>
              <a:gd name="connsiteY78" fmla="*/ 2776856 h 6858001"/>
              <a:gd name="connsiteX79" fmla="*/ 3936021 w 8009775"/>
              <a:gd name="connsiteY79" fmla="*/ 2762568 h 6858001"/>
              <a:gd name="connsiteX80" fmla="*/ 3001744 w 8009775"/>
              <a:gd name="connsiteY80" fmla="*/ 1828166 h 6858001"/>
              <a:gd name="connsiteX81" fmla="*/ 2997311 w 8009775"/>
              <a:gd name="connsiteY81" fmla="*/ 1823404 h 6858001"/>
              <a:gd name="connsiteX82" fmla="*/ 2992878 w 8009775"/>
              <a:gd name="connsiteY82" fmla="*/ 1818640 h 6858001"/>
              <a:gd name="connsiteX83" fmla="*/ 2989331 w 8009775"/>
              <a:gd name="connsiteY83" fmla="*/ 1814195 h 6858001"/>
              <a:gd name="connsiteX84" fmla="*/ 2985784 w 8009775"/>
              <a:gd name="connsiteY84" fmla="*/ 1808799 h 6858001"/>
              <a:gd name="connsiteX85" fmla="*/ 2982533 w 8009775"/>
              <a:gd name="connsiteY85" fmla="*/ 1803718 h 6858001"/>
              <a:gd name="connsiteX86" fmla="*/ 2979873 w 8009775"/>
              <a:gd name="connsiteY86" fmla="*/ 1798321 h 6858001"/>
              <a:gd name="connsiteX87" fmla="*/ 2976917 w 8009775"/>
              <a:gd name="connsiteY87" fmla="*/ 1792924 h 6858001"/>
              <a:gd name="connsiteX88" fmla="*/ 2974552 w 8009775"/>
              <a:gd name="connsiteY88" fmla="*/ 1787526 h 6858001"/>
              <a:gd name="connsiteX89" fmla="*/ 2972484 w 8009775"/>
              <a:gd name="connsiteY89" fmla="*/ 1781811 h 6858001"/>
              <a:gd name="connsiteX90" fmla="*/ 2970710 w 8009775"/>
              <a:gd name="connsiteY90" fmla="*/ 1776095 h 6858001"/>
              <a:gd name="connsiteX91" fmla="*/ 2968937 w 8009775"/>
              <a:gd name="connsiteY91" fmla="*/ 1770380 h 6858001"/>
              <a:gd name="connsiteX92" fmla="*/ 2967755 w 8009775"/>
              <a:gd name="connsiteY92" fmla="*/ 1764665 h 6858001"/>
              <a:gd name="connsiteX93" fmla="*/ 2966868 w 8009775"/>
              <a:gd name="connsiteY93" fmla="*/ 1758634 h 6858001"/>
              <a:gd name="connsiteX94" fmla="*/ 2965981 w 8009775"/>
              <a:gd name="connsiteY94" fmla="*/ 1752919 h 6858001"/>
              <a:gd name="connsiteX95" fmla="*/ 2965686 w 8009775"/>
              <a:gd name="connsiteY95" fmla="*/ 1746885 h 6858001"/>
              <a:gd name="connsiteX96" fmla="*/ 2965686 w 8009775"/>
              <a:gd name="connsiteY96" fmla="*/ 1741170 h 6858001"/>
              <a:gd name="connsiteX97" fmla="*/ 2965686 w 8009775"/>
              <a:gd name="connsiteY97" fmla="*/ 1735139 h 6858001"/>
              <a:gd name="connsiteX98" fmla="*/ 2965981 w 8009775"/>
              <a:gd name="connsiteY98" fmla="*/ 1729424 h 6858001"/>
              <a:gd name="connsiteX99" fmla="*/ 2966868 w 8009775"/>
              <a:gd name="connsiteY99" fmla="*/ 1723074 h 6858001"/>
              <a:gd name="connsiteX100" fmla="*/ 2967755 w 8009775"/>
              <a:gd name="connsiteY100" fmla="*/ 1717358 h 6858001"/>
              <a:gd name="connsiteX101" fmla="*/ 2968937 w 8009775"/>
              <a:gd name="connsiteY101" fmla="*/ 1711643 h 6858001"/>
              <a:gd name="connsiteX102" fmla="*/ 2970710 w 8009775"/>
              <a:gd name="connsiteY102" fmla="*/ 1705929 h 6858001"/>
              <a:gd name="connsiteX103" fmla="*/ 2972484 w 8009775"/>
              <a:gd name="connsiteY103" fmla="*/ 1700214 h 6858001"/>
              <a:gd name="connsiteX104" fmla="*/ 2974552 w 8009775"/>
              <a:gd name="connsiteY104" fmla="*/ 1694816 h 6858001"/>
              <a:gd name="connsiteX105" fmla="*/ 2976917 w 8009775"/>
              <a:gd name="connsiteY105" fmla="*/ 1689101 h 6858001"/>
              <a:gd name="connsiteX106" fmla="*/ 2979873 w 8009775"/>
              <a:gd name="connsiteY106" fmla="*/ 1683703 h 6858001"/>
              <a:gd name="connsiteX107" fmla="*/ 2982533 w 8009775"/>
              <a:gd name="connsiteY107" fmla="*/ 1678305 h 6858001"/>
              <a:gd name="connsiteX108" fmla="*/ 2985784 w 8009775"/>
              <a:gd name="connsiteY108" fmla="*/ 1673226 h 6858001"/>
              <a:gd name="connsiteX109" fmla="*/ 2989331 w 8009775"/>
              <a:gd name="connsiteY109" fmla="*/ 1668145 h 6858001"/>
              <a:gd name="connsiteX110" fmla="*/ 2992878 w 8009775"/>
              <a:gd name="connsiteY110" fmla="*/ 1663066 h 6858001"/>
              <a:gd name="connsiteX111" fmla="*/ 2997311 w 8009775"/>
              <a:gd name="connsiteY111" fmla="*/ 1658621 h 6858001"/>
              <a:gd name="connsiteX112" fmla="*/ 3001744 w 8009775"/>
              <a:gd name="connsiteY112" fmla="*/ 1653859 h 6858001"/>
              <a:gd name="connsiteX113" fmla="*/ 3006178 w 8009775"/>
              <a:gd name="connsiteY113" fmla="*/ 1649414 h 6858001"/>
              <a:gd name="connsiteX114" fmla="*/ 3010907 w 8009775"/>
              <a:gd name="connsiteY114" fmla="*/ 1645603 h 6858001"/>
              <a:gd name="connsiteX115" fmla="*/ 3015932 w 8009775"/>
              <a:gd name="connsiteY115" fmla="*/ 1641794 h 6858001"/>
              <a:gd name="connsiteX116" fmla="*/ 3020956 w 8009775"/>
              <a:gd name="connsiteY116" fmla="*/ 1637984 h 6858001"/>
              <a:gd name="connsiteX117" fmla="*/ 3025981 w 8009775"/>
              <a:gd name="connsiteY117" fmla="*/ 1634809 h 6858001"/>
              <a:gd name="connsiteX118" fmla="*/ 3031596 w 8009775"/>
              <a:gd name="connsiteY118" fmla="*/ 1631950 h 6858001"/>
              <a:gd name="connsiteX119" fmla="*/ 3036916 w 8009775"/>
              <a:gd name="connsiteY119" fmla="*/ 1629094 h 6858001"/>
              <a:gd name="connsiteX120" fmla="*/ 3042532 w 8009775"/>
              <a:gd name="connsiteY120" fmla="*/ 1626871 h 6858001"/>
              <a:gd name="connsiteX121" fmla="*/ 3047852 w 8009775"/>
              <a:gd name="connsiteY121" fmla="*/ 1624649 h 6858001"/>
              <a:gd name="connsiteX122" fmla="*/ 3053764 w 8009775"/>
              <a:gd name="connsiteY122" fmla="*/ 1623061 h 6858001"/>
              <a:gd name="connsiteX123" fmla="*/ 3059379 w 8009775"/>
              <a:gd name="connsiteY123" fmla="*/ 1621155 h 6858001"/>
              <a:gd name="connsiteX124" fmla="*/ 3065291 w 8009775"/>
              <a:gd name="connsiteY124" fmla="*/ 1620204 h 6858001"/>
              <a:gd name="connsiteX125" fmla="*/ 3070906 w 8009775"/>
              <a:gd name="connsiteY125" fmla="*/ 1618934 h 6858001"/>
              <a:gd name="connsiteX126" fmla="*/ 3077113 w 8009775"/>
              <a:gd name="connsiteY126" fmla="*/ 1618299 h 6858001"/>
              <a:gd name="connsiteX127" fmla="*/ 3082729 w 8009775"/>
              <a:gd name="connsiteY127" fmla="*/ 1617981 h 6858001"/>
              <a:gd name="connsiteX128" fmla="*/ 3088936 w 8009775"/>
              <a:gd name="connsiteY128" fmla="*/ 1617981 h 6858001"/>
              <a:gd name="connsiteX129" fmla="*/ 3094552 w 8009775"/>
              <a:gd name="connsiteY129" fmla="*/ 1617981 h 6858001"/>
              <a:gd name="connsiteX130" fmla="*/ 3100758 w 8009775"/>
              <a:gd name="connsiteY130" fmla="*/ 1618299 h 6858001"/>
              <a:gd name="connsiteX131" fmla="*/ 3106670 w 8009775"/>
              <a:gd name="connsiteY131" fmla="*/ 1618934 h 6858001"/>
              <a:gd name="connsiteX132" fmla="*/ 3112285 w 8009775"/>
              <a:gd name="connsiteY132" fmla="*/ 1620204 h 6858001"/>
              <a:gd name="connsiteX133" fmla="*/ 3117901 w 8009775"/>
              <a:gd name="connsiteY133" fmla="*/ 1621155 h 6858001"/>
              <a:gd name="connsiteX134" fmla="*/ 3123812 w 8009775"/>
              <a:gd name="connsiteY134" fmla="*/ 1623061 h 6858001"/>
              <a:gd name="connsiteX135" fmla="*/ 3129428 w 8009775"/>
              <a:gd name="connsiteY135" fmla="*/ 1624649 h 6858001"/>
              <a:gd name="connsiteX136" fmla="*/ 3135339 w 8009775"/>
              <a:gd name="connsiteY136" fmla="*/ 1626871 h 6858001"/>
              <a:gd name="connsiteX137" fmla="*/ 3140660 w 8009775"/>
              <a:gd name="connsiteY137" fmla="*/ 1629094 h 6858001"/>
              <a:gd name="connsiteX138" fmla="*/ 3145980 w 8009775"/>
              <a:gd name="connsiteY138" fmla="*/ 1631950 h 6858001"/>
              <a:gd name="connsiteX139" fmla="*/ 3151300 w 8009775"/>
              <a:gd name="connsiteY139" fmla="*/ 1634809 h 6858001"/>
              <a:gd name="connsiteX140" fmla="*/ 3156324 w 8009775"/>
              <a:gd name="connsiteY140" fmla="*/ 1637984 h 6858001"/>
              <a:gd name="connsiteX141" fmla="*/ 3161349 w 8009775"/>
              <a:gd name="connsiteY141" fmla="*/ 1641794 h 6858001"/>
              <a:gd name="connsiteX142" fmla="*/ 3166374 w 8009775"/>
              <a:gd name="connsiteY142" fmla="*/ 1645603 h 6858001"/>
              <a:gd name="connsiteX143" fmla="*/ 3171102 w 8009775"/>
              <a:gd name="connsiteY143" fmla="*/ 1649414 h 6858001"/>
              <a:gd name="connsiteX144" fmla="*/ 3175832 w 8009775"/>
              <a:gd name="connsiteY144" fmla="*/ 1653859 h 6858001"/>
              <a:gd name="connsiteX145" fmla="*/ 3844692 w 8009775"/>
              <a:gd name="connsiteY145" fmla="*/ 2322830 h 6858001"/>
              <a:gd name="connsiteX146" fmla="*/ 3849421 w 8009775"/>
              <a:gd name="connsiteY146" fmla="*/ 2326958 h 6858001"/>
              <a:gd name="connsiteX147" fmla="*/ 3854150 w 8009775"/>
              <a:gd name="connsiteY147" fmla="*/ 2331085 h 6858001"/>
              <a:gd name="connsiteX148" fmla="*/ 3859175 w 8009775"/>
              <a:gd name="connsiteY148" fmla="*/ 2334895 h 6858001"/>
              <a:gd name="connsiteX149" fmla="*/ 3864199 w 8009775"/>
              <a:gd name="connsiteY149" fmla="*/ 2338705 h 6858001"/>
              <a:gd name="connsiteX150" fmla="*/ 3869224 w 8009775"/>
              <a:gd name="connsiteY150" fmla="*/ 2341880 h 6858001"/>
              <a:gd name="connsiteX151" fmla="*/ 3874544 w 8009775"/>
              <a:gd name="connsiteY151" fmla="*/ 2344738 h 6858001"/>
              <a:gd name="connsiteX152" fmla="*/ 3879864 w 8009775"/>
              <a:gd name="connsiteY152" fmla="*/ 2347595 h 6858001"/>
              <a:gd name="connsiteX153" fmla="*/ 3885775 w 8009775"/>
              <a:gd name="connsiteY153" fmla="*/ 2349818 h 6858001"/>
              <a:gd name="connsiteX154" fmla="*/ 3891096 w 8009775"/>
              <a:gd name="connsiteY154" fmla="*/ 2351723 h 6858001"/>
              <a:gd name="connsiteX155" fmla="*/ 3896711 w 8009775"/>
              <a:gd name="connsiteY155" fmla="*/ 2353628 h 6858001"/>
              <a:gd name="connsiteX156" fmla="*/ 3902623 w 8009775"/>
              <a:gd name="connsiteY156" fmla="*/ 2355534 h 6858001"/>
              <a:gd name="connsiteX157" fmla="*/ 3908238 w 8009775"/>
              <a:gd name="connsiteY157" fmla="*/ 2356485 h 6858001"/>
              <a:gd name="connsiteX158" fmla="*/ 3914150 w 8009775"/>
              <a:gd name="connsiteY158" fmla="*/ 2357755 h 6858001"/>
              <a:gd name="connsiteX159" fmla="*/ 3920061 w 8009775"/>
              <a:gd name="connsiteY159" fmla="*/ 2358391 h 6858001"/>
              <a:gd name="connsiteX160" fmla="*/ 3925972 w 8009775"/>
              <a:gd name="connsiteY160" fmla="*/ 2358708 h 6858001"/>
              <a:gd name="connsiteX161" fmla="*/ 3931883 w 8009775"/>
              <a:gd name="connsiteY161" fmla="*/ 2358708 h 6858001"/>
              <a:gd name="connsiteX162" fmla="*/ 3937795 w 8009775"/>
              <a:gd name="connsiteY162" fmla="*/ 2358708 h 6858001"/>
              <a:gd name="connsiteX163" fmla="*/ 3943706 w 8009775"/>
              <a:gd name="connsiteY163" fmla="*/ 2358391 h 6858001"/>
              <a:gd name="connsiteX164" fmla="*/ 3949617 w 8009775"/>
              <a:gd name="connsiteY164" fmla="*/ 2357755 h 6858001"/>
              <a:gd name="connsiteX165" fmla="*/ 3955233 w 8009775"/>
              <a:gd name="connsiteY165" fmla="*/ 2356485 h 6858001"/>
              <a:gd name="connsiteX166" fmla="*/ 3961144 w 8009775"/>
              <a:gd name="connsiteY166" fmla="*/ 2355534 h 6858001"/>
              <a:gd name="connsiteX167" fmla="*/ 3966760 w 8009775"/>
              <a:gd name="connsiteY167" fmla="*/ 2353628 h 6858001"/>
              <a:gd name="connsiteX168" fmla="*/ 3972671 w 8009775"/>
              <a:gd name="connsiteY168" fmla="*/ 2351723 h 6858001"/>
              <a:gd name="connsiteX169" fmla="*/ 3978287 w 8009775"/>
              <a:gd name="connsiteY169" fmla="*/ 2349818 h 6858001"/>
              <a:gd name="connsiteX170" fmla="*/ 3983607 w 8009775"/>
              <a:gd name="connsiteY170" fmla="*/ 2347595 h 6858001"/>
              <a:gd name="connsiteX171" fmla="*/ 3989223 w 8009775"/>
              <a:gd name="connsiteY171" fmla="*/ 2344738 h 6858001"/>
              <a:gd name="connsiteX172" fmla="*/ 3994543 w 8009775"/>
              <a:gd name="connsiteY172" fmla="*/ 2341880 h 6858001"/>
              <a:gd name="connsiteX173" fmla="*/ 3999567 w 8009775"/>
              <a:gd name="connsiteY173" fmla="*/ 2338705 h 6858001"/>
              <a:gd name="connsiteX174" fmla="*/ 4004888 w 8009775"/>
              <a:gd name="connsiteY174" fmla="*/ 2334895 h 6858001"/>
              <a:gd name="connsiteX175" fmla="*/ 4009617 w 8009775"/>
              <a:gd name="connsiteY175" fmla="*/ 2331085 h 6858001"/>
              <a:gd name="connsiteX176" fmla="*/ 4014346 w 8009775"/>
              <a:gd name="connsiteY176" fmla="*/ 2326958 h 6858001"/>
              <a:gd name="connsiteX177" fmla="*/ 4018779 w 8009775"/>
              <a:gd name="connsiteY177" fmla="*/ 2322830 h 6858001"/>
              <a:gd name="connsiteX178" fmla="*/ 4023213 w 8009775"/>
              <a:gd name="connsiteY178" fmla="*/ 2318068 h 6858001"/>
              <a:gd name="connsiteX179" fmla="*/ 4027646 w 8009775"/>
              <a:gd name="connsiteY179" fmla="*/ 2313306 h 6858001"/>
              <a:gd name="connsiteX180" fmla="*/ 4031193 w 8009775"/>
              <a:gd name="connsiteY180" fmla="*/ 2308544 h 6858001"/>
              <a:gd name="connsiteX181" fmla="*/ 4034740 w 8009775"/>
              <a:gd name="connsiteY181" fmla="*/ 2303463 h 6858001"/>
              <a:gd name="connsiteX182" fmla="*/ 4037991 w 8009775"/>
              <a:gd name="connsiteY182" fmla="*/ 2298384 h 6858001"/>
              <a:gd name="connsiteX183" fmla="*/ 4040946 w 8009775"/>
              <a:gd name="connsiteY183" fmla="*/ 2292985 h 6858001"/>
              <a:gd name="connsiteX184" fmla="*/ 4043606 w 8009775"/>
              <a:gd name="connsiteY184" fmla="*/ 2287588 h 6858001"/>
              <a:gd name="connsiteX185" fmla="*/ 4046267 w 8009775"/>
              <a:gd name="connsiteY185" fmla="*/ 2281873 h 6858001"/>
              <a:gd name="connsiteX186" fmla="*/ 4048040 w 8009775"/>
              <a:gd name="connsiteY186" fmla="*/ 2276476 h 6858001"/>
              <a:gd name="connsiteX187" fmla="*/ 4050109 w 8009775"/>
              <a:gd name="connsiteY187" fmla="*/ 2270761 h 6858001"/>
              <a:gd name="connsiteX188" fmla="*/ 4051587 w 8009775"/>
              <a:gd name="connsiteY188" fmla="*/ 2265046 h 6858001"/>
              <a:gd name="connsiteX189" fmla="*/ 4052769 w 8009775"/>
              <a:gd name="connsiteY189" fmla="*/ 2259331 h 6858001"/>
              <a:gd name="connsiteX190" fmla="*/ 4053656 w 8009775"/>
              <a:gd name="connsiteY190" fmla="*/ 2253298 h 6858001"/>
              <a:gd name="connsiteX191" fmla="*/ 4054542 w 8009775"/>
              <a:gd name="connsiteY191" fmla="*/ 2247266 h 6858001"/>
              <a:gd name="connsiteX192" fmla="*/ 4054838 w 8009775"/>
              <a:gd name="connsiteY192" fmla="*/ 2241551 h 6858001"/>
              <a:gd name="connsiteX193" fmla="*/ 4055133 w 8009775"/>
              <a:gd name="connsiteY193" fmla="*/ 2235519 h 6858001"/>
              <a:gd name="connsiteX194" fmla="*/ 4054838 w 8009775"/>
              <a:gd name="connsiteY194" fmla="*/ 2229804 h 6858001"/>
              <a:gd name="connsiteX195" fmla="*/ 4054542 w 8009775"/>
              <a:gd name="connsiteY195" fmla="*/ 2223770 h 6858001"/>
              <a:gd name="connsiteX196" fmla="*/ 4053656 w 8009775"/>
              <a:gd name="connsiteY196" fmla="*/ 2217739 h 6858001"/>
              <a:gd name="connsiteX197" fmla="*/ 4052769 w 8009775"/>
              <a:gd name="connsiteY197" fmla="*/ 2212024 h 6858001"/>
              <a:gd name="connsiteX198" fmla="*/ 4051587 w 8009775"/>
              <a:gd name="connsiteY198" fmla="*/ 2206309 h 6858001"/>
              <a:gd name="connsiteX199" fmla="*/ 4050109 w 8009775"/>
              <a:gd name="connsiteY199" fmla="*/ 2200593 h 6858001"/>
              <a:gd name="connsiteX200" fmla="*/ 4048040 w 8009775"/>
              <a:gd name="connsiteY200" fmla="*/ 2194878 h 6858001"/>
              <a:gd name="connsiteX201" fmla="*/ 4046267 w 8009775"/>
              <a:gd name="connsiteY201" fmla="*/ 2189163 h 6858001"/>
              <a:gd name="connsiteX202" fmla="*/ 4043606 w 8009775"/>
              <a:gd name="connsiteY202" fmla="*/ 2183765 h 6858001"/>
              <a:gd name="connsiteX203" fmla="*/ 4040946 w 8009775"/>
              <a:gd name="connsiteY203" fmla="*/ 2178368 h 6858001"/>
              <a:gd name="connsiteX204" fmla="*/ 4037991 w 8009775"/>
              <a:gd name="connsiteY204" fmla="*/ 2172970 h 6858001"/>
              <a:gd name="connsiteX205" fmla="*/ 4034740 w 8009775"/>
              <a:gd name="connsiteY205" fmla="*/ 2167890 h 6858001"/>
              <a:gd name="connsiteX206" fmla="*/ 4031193 w 8009775"/>
              <a:gd name="connsiteY206" fmla="*/ 2162494 h 6858001"/>
              <a:gd name="connsiteX207" fmla="*/ 4027646 w 8009775"/>
              <a:gd name="connsiteY207" fmla="*/ 2157730 h 6858001"/>
              <a:gd name="connsiteX208" fmla="*/ 4023213 w 8009775"/>
              <a:gd name="connsiteY208" fmla="*/ 2153285 h 6858001"/>
              <a:gd name="connsiteX209" fmla="*/ 4018779 w 8009775"/>
              <a:gd name="connsiteY209" fmla="*/ 2148523 h 6858001"/>
              <a:gd name="connsiteX210" fmla="*/ 3632182 w 8009775"/>
              <a:gd name="connsiteY210" fmla="*/ 1761490 h 6858001"/>
              <a:gd name="connsiteX211" fmla="*/ 3435928 w 8009775"/>
              <a:gd name="connsiteY211" fmla="*/ 1565276 h 6858001"/>
              <a:gd name="connsiteX212" fmla="*/ 3431198 w 8009775"/>
              <a:gd name="connsiteY212" fmla="*/ 1560514 h 6858001"/>
              <a:gd name="connsiteX213" fmla="*/ 3427356 w 8009775"/>
              <a:gd name="connsiteY213" fmla="*/ 1555751 h 6858001"/>
              <a:gd name="connsiteX214" fmla="*/ 3423218 w 8009775"/>
              <a:gd name="connsiteY214" fmla="*/ 1550671 h 6858001"/>
              <a:gd name="connsiteX215" fmla="*/ 3420262 w 8009775"/>
              <a:gd name="connsiteY215" fmla="*/ 1545909 h 6858001"/>
              <a:gd name="connsiteX216" fmla="*/ 3417012 w 8009775"/>
              <a:gd name="connsiteY216" fmla="*/ 1540829 h 6858001"/>
              <a:gd name="connsiteX217" fmla="*/ 3413760 w 8009775"/>
              <a:gd name="connsiteY217" fmla="*/ 1535430 h 6858001"/>
              <a:gd name="connsiteX218" fmla="*/ 3411100 w 8009775"/>
              <a:gd name="connsiteY218" fmla="*/ 1530034 h 6858001"/>
              <a:gd name="connsiteX219" fmla="*/ 3408736 w 8009775"/>
              <a:gd name="connsiteY219" fmla="*/ 1524635 h 6858001"/>
              <a:gd name="connsiteX220" fmla="*/ 3406371 w 8009775"/>
              <a:gd name="connsiteY220" fmla="*/ 1518920 h 6858001"/>
              <a:gd name="connsiteX221" fmla="*/ 3404598 w 8009775"/>
              <a:gd name="connsiteY221" fmla="*/ 1513205 h 6858001"/>
              <a:gd name="connsiteX222" fmla="*/ 3403120 w 8009775"/>
              <a:gd name="connsiteY222" fmla="*/ 1507174 h 6858001"/>
              <a:gd name="connsiteX223" fmla="*/ 3401938 w 8009775"/>
              <a:gd name="connsiteY223" fmla="*/ 1501459 h 6858001"/>
              <a:gd name="connsiteX224" fmla="*/ 3401051 w 8009775"/>
              <a:gd name="connsiteY224" fmla="*/ 1495744 h 6858001"/>
              <a:gd name="connsiteX225" fmla="*/ 3400460 w 8009775"/>
              <a:gd name="connsiteY225" fmla="*/ 1489710 h 6858001"/>
              <a:gd name="connsiteX226" fmla="*/ 3399869 w 8009775"/>
              <a:gd name="connsiteY226" fmla="*/ 1483995 h 6858001"/>
              <a:gd name="connsiteX227" fmla="*/ 3399573 w 8009775"/>
              <a:gd name="connsiteY227" fmla="*/ 1478281 h 6858001"/>
              <a:gd name="connsiteX228" fmla="*/ 3399869 w 8009775"/>
              <a:gd name="connsiteY228" fmla="*/ 1472249 h 6858001"/>
              <a:gd name="connsiteX229" fmla="*/ 3400460 w 8009775"/>
              <a:gd name="connsiteY229" fmla="*/ 1466215 h 6858001"/>
              <a:gd name="connsiteX230" fmla="*/ 3401051 w 8009775"/>
              <a:gd name="connsiteY230" fmla="*/ 1460183 h 6858001"/>
              <a:gd name="connsiteX231" fmla="*/ 3401938 w 8009775"/>
              <a:gd name="connsiteY231" fmla="*/ 1454468 h 6858001"/>
              <a:gd name="connsiteX232" fmla="*/ 3403120 w 8009775"/>
              <a:gd name="connsiteY232" fmla="*/ 1448754 h 6858001"/>
              <a:gd name="connsiteX233" fmla="*/ 3404598 w 8009775"/>
              <a:gd name="connsiteY233" fmla="*/ 1443039 h 6858001"/>
              <a:gd name="connsiteX234" fmla="*/ 3406371 w 8009775"/>
              <a:gd name="connsiteY234" fmla="*/ 1437324 h 6858001"/>
              <a:gd name="connsiteX235" fmla="*/ 3408736 w 8009775"/>
              <a:gd name="connsiteY235" fmla="*/ 1431609 h 6858001"/>
              <a:gd name="connsiteX236" fmla="*/ 3411100 w 8009775"/>
              <a:gd name="connsiteY236" fmla="*/ 1426211 h 6858001"/>
              <a:gd name="connsiteX237" fmla="*/ 3413760 w 8009775"/>
              <a:gd name="connsiteY237" fmla="*/ 1420814 h 6858001"/>
              <a:gd name="connsiteX238" fmla="*/ 3417012 w 8009775"/>
              <a:gd name="connsiteY238" fmla="*/ 1415416 h 6858001"/>
              <a:gd name="connsiteX239" fmla="*/ 3420262 w 8009775"/>
              <a:gd name="connsiteY239" fmla="*/ 1410336 h 6858001"/>
              <a:gd name="connsiteX240" fmla="*/ 3423218 w 8009775"/>
              <a:gd name="connsiteY240" fmla="*/ 1405256 h 6858001"/>
              <a:gd name="connsiteX241" fmla="*/ 3427356 w 8009775"/>
              <a:gd name="connsiteY241" fmla="*/ 1400175 h 6858001"/>
              <a:gd name="connsiteX242" fmla="*/ 3431198 w 8009775"/>
              <a:gd name="connsiteY242" fmla="*/ 1395731 h 6858001"/>
              <a:gd name="connsiteX243" fmla="*/ 3435928 w 8009775"/>
              <a:gd name="connsiteY243" fmla="*/ 1390969 h 6858001"/>
              <a:gd name="connsiteX244" fmla="*/ 3440361 w 8009775"/>
              <a:gd name="connsiteY244" fmla="*/ 1386524 h 6858001"/>
              <a:gd name="connsiteX245" fmla="*/ 3445386 w 8009775"/>
              <a:gd name="connsiteY245" fmla="*/ 1382396 h 6858001"/>
              <a:gd name="connsiteX246" fmla="*/ 3449819 w 8009775"/>
              <a:gd name="connsiteY246" fmla="*/ 1378585 h 6858001"/>
              <a:gd name="connsiteX247" fmla="*/ 3454844 w 8009775"/>
              <a:gd name="connsiteY247" fmla="*/ 1375094 h 6858001"/>
              <a:gd name="connsiteX248" fmla="*/ 3460459 w 8009775"/>
              <a:gd name="connsiteY248" fmla="*/ 1371919 h 6858001"/>
              <a:gd name="connsiteX249" fmla="*/ 3465780 w 8009775"/>
              <a:gd name="connsiteY249" fmla="*/ 1369061 h 6858001"/>
              <a:gd name="connsiteX250" fmla="*/ 3471100 w 8009775"/>
              <a:gd name="connsiteY250" fmla="*/ 1366204 h 6858001"/>
              <a:gd name="connsiteX251" fmla="*/ 3476420 w 8009775"/>
              <a:gd name="connsiteY251" fmla="*/ 1363980 h 6858001"/>
              <a:gd name="connsiteX252" fmla="*/ 3482331 w 8009775"/>
              <a:gd name="connsiteY252" fmla="*/ 1361759 h 6858001"/>
              <a:gd name="connsiteX253" fmla="*/ 3487947 w 8009775"/>
              <a:gd name="connsiteY253" fmla="*/ 1360170 h 6858001"/>
              <a:gd name="connsiteX254" fmla="*/ 3493858 w 8009775"/>
              <a:gd name="connsiteY254" fmla="*/ 1358265 h 6858001"/>
              <a:gd name="connsiteX255" fmla="*/ 3499474 w 8009775"/>
              <a:gd name="connsiteY255" fmla="*/ 1357314 h 6858001"/>
              <a:gd name="connsiteX256" fmla="*/ 3505385 w 8009775"/>
              <a:gd name="connsiteY256" fmla="*/ 1356043 h 6858001"/>
              <a:gd name="connsiteX257" fmla="*/ 3511001 w 8009775"/>
              <a:gd name="connsiteY257" fmla="*/ 1355409 h 6858001"/>
              <a:gd name="connsiteX258" fmla="*/ 3517208 w 8009775"/>
              <a:gd name="connsiteY258" fmla="*/ 1355090 h 6858001"/>
              <a:gd name="connsiteX259" fmla="*/ 3522823 w 8009775"/>
              <a:gd name="connsiteY259" fmla="*/ 1354773 h 6858001"/>
              <a:gd name="connsiteX260" fmla="*/ 3529030 w 8009775"/>
              <a:gd name="connsiteY260" fmla="*/ 1355090 h 6858001"/>
              <a:gd name="connsiteX261" fmla="*/ 3534646 w 8009775"/>
              <a:gd name="connsiteY261" fmla="*/ 1355409 h 6858001"/>
              <a:gd name="connsiteX262" fmla="*/ 3540557 w 8009775"/>
              <a:gd name="connsiteY262" fmla="*/ 1356043 h 6858001"/>
              <a:gd name="connsiteX263" fmla="*/ 3546468 w 8009775"/>
              <a:gd name="connsiteY263" fmla="*/ 1357314 h 6858001"/>
              <a:gd name="connsiteX264" fmla="*/ 3552380 w 8009775"/>
              <a:gd name="connsiteY264" fmla="*/ 1358265 h 6858001"/>
              <a:gd name="connsiteX265" fmla="*/ 3557995 w 8009775"/>
              <a:gd name="connsiteY265" fmla="*/ 1360170 h 6858001"/>
              <a:gd name="connsiteX266" fmla="*/ 3563906 w 8009775"/>
              <a:gd name="connsiteY266" fmla="*/ 1361759 h 6858001"/>
              <a:gd name="connsiteX267" fmla="*/ 3569227 w 8009775"/>
              <a:gd name="connsiteY267" fmla="*/ 1363980 h 6858001"/>
              <a:gd name="connsiteX268" fmla="*/ 3574842 w 8009775"/>
              <a:gd name="connsiteY268" fmla="*/ 1366204 h 6858001"/>
              <a:gd name="connsiteX269" fmla="*/ 3580458 w 8009775"/>
              <a:gd name="connsiteY269" fmla="*/ 1369061 h 6858001"/>
              <a:gd name="connsiteX270" fmla="*/ 3585778 w 8009775"/>
              <a:gd name="connsiteY270" fmla="*/ 1371919 h 6858001"/>
              <a:gd name="connsiteX271" fmla="*/ 3590803 w 8009775"/>
              <a:gd name="connsiteY271" fmla="*/ 1375094 h 6858001"/>
              <a:gd name="connsiteX272" fmla="*/ 3595828 w 8009775"/>
              <a:gd name="connsiteY272" fmla="*/ 1378585 h 6858001"/>
              <a:gd name="connsiteX273" fmla="*/ 3600852 w 8009775"/>
              <a:gd name="connsiteY273" fmla="*/ 1382396 h 6858001"/>
              <a:gd name="connsiteX274" fmla="*/ 3605581 w 8009775"/>
              <a:gd name="connsiteY274" fmla="*/ 1386524 h 6858001"/>
              <a:gd name="connsiteX275" fmla="*/ 3610014 w 8009775"/>
              <a:gd name="connsiteY275" fmla="*/ 1390969 h 6858001"/>
              <a:gd name="connsiteX276" fmla="*/ 3817500 w 8009775"/>
              <a:gd name="connsiteY276" fmla="*/ 1598296 h 6858001"/>
              <a:gd name="connsiteX277" fmla="*/ 3821934 w 8009775"/>
              <a:gd name="connsiteY277" fmla="*/ 1602423 h 6858001"/>
              <a:gd name="connsiteX278" fmla="*/ 3826663 w 8009775"/>
              <a:gd name="connsiteY278" fmla="*/ 1606869 h 6858001"/>
              <a:gd name="connsiteX279" fmla="*/ 3831687 w 8009775"/>
              <a:gd name="connsiteY279" fmla="*/ 1610361 h 6858001"/>
              <a:gd name="connsiteX280" fmla="*/ 3836712 w 8009775"/>
              <a:gd name="connsiteY280" fmla="*/ 1613854 h 6858001"/>
              <a:gd name="connsiteX281" fmla="*/ 3841736 w 8009775"/>
              <a:gd name="connsiteY281" fmla="*/ 1617345 h 6858001"/>
              <a:gd name="connsiteX282" fmla="*/ 3847352 w 8009775"/>
              <a:gd name="connsiteY282" fmla="*/ 1620204 h 6858001"/>
              <a:gd name="connsiteX283" fmla="*/ 3852672 w 8009775"/>
              <a:gd name="connsiteY283" fmla="*/ 1623061 h 6858001"/>
              <a:gd name="connsiteX284" fmla="*/ 3857992 w 8009775"/>
              <a:gd name="connsiteY284" fmla="*/ 1625283 h 6858001"/>
              <a:gd name="connsiteX285" fmla="*/ 3863608 w 8009775"/>
              <a:gd name="connsiteY285" fmla="*/ 1627189 h 6858001"/>
              <a:gd name="connsiteX286" fmla="*/ 3869519 w 8009775"/>
              <a:gd name="connsiteY286" fmla="*/ 1629094 h 6858001"/>
              <a:gd name="connsiteX287" fmla="*/ 3875135 w 8009775"/>
              <a:gd name="connsiteY287" fmla="*/ 1630998 h 6858001"/>
              <a:gd name="connsiteX288" fmla="*/ 3881046 w 8009775"/>
              <a:gd name="connsiteY288" fmla="*/ 1631950 h 6858001"/>
              <a:gd name="connsiteX289" fmla="*/ 3886662 w 8009775"/>
              <a:gd name="connsiteY289" fmla="*/ 1632904 h 6858001"/>
              <a:gd name="connsiteX290" fmla="*/ 3892869 w 8009775"/>
              <a:gd name="connsiteY290" fmla="*/ 1633856 h 6858001"/>
              <a:gd name="connsiteX291" fmla="*/ 3898485 w 8009775"/>
              <a:gd name="connsiteY291" fmla="*/ 1634174 h 6858001"/>
              <a:gd name="connsiteX292" fmla="*/ 3904396 w 8009775"/>
              <a:gd name="connsiteY292" fmla="*/ 1634174 h 6858001"/>
              <a:gd name="connsiteX293" fmla="*/ 3910307 w 8009775"/>
              <a:gd name="connsiteY293" fmla="*/ 1634174 h 6858001"/>
              <a:gd name="connsiteX294" fmla="*/ 3916219 w 8009775"/>
              <a:gd name="connsiteY294" fmla="*/ 1633856 h 6858001"/>
              <a:gd name="connsiteX295" fmla="*/ 3922425 w 8009775"/>
              <a:gd name="connsiteY295" fmla="*/ 1632904 h 6858001"/>
              <a:gd name="connsiteX296" fmla="*/ 3928041 w 8009775"/>
              <a:gd name="connsiteY296" fmla="*/ 1631950 h 6858001"/>
              <a:gd name="connsiteX297" fmla="*/ 3933657 w 8009775"/>
              <a:gd name="connsiteY297" fmla="*/ 1630998 h 6858001"/>
              <a:gd name="connsiteX298" fmla="*/ 3939568 w 8009775"/>
              <a:gd name="connsiteY298" fmla="*/ 1629094 h 6858001"/>
              <a:gd name="connsiteX299" fmla="*/ 3945184 w 8009775"/>
              <a:gd name="connsiteY299" fmla="*/ 1627189 h 6858001"/>
              <a:gd name="connsiteX300" fmla="*/ 3950799 w 8009775"/>
              <a:gd name="connsiteY300" fmla="*/ 1625283 h 6858001"/>
              <a:gd name="connsiteX301" fmla="*/ 3956415 w 8009775"/>
              <a:gd name="connsiteY301" fmla="*/ 1623061 h 6858001"/>
              <a:gd name="connsiteX302" fmla="*/ 3961735 w 8009775"/>
              <a:gd name="connsiteY302" fmla="*/ 1620204 h 6858001"/>
              <a:gd name="connsiteX303" fmla="*/ 3967055 w 8009775"/>
              <a:gd name="connsiteY303" fmla="*/ 1617345 h 6858001"/>
              <a:gd name="connsiteX304" fmla="*/ 3972376 w 8009775"/>
              <a:gd name="connsiteY304" fmla="*/ 1613854 h 6858001"/>
              <a:gd name="connsiteX305" fmla="*/ 3977400 w 8009775"/>
              <a:gd name="connsiteY305" fmla="*/ 1610361 h 6858001"/>
              <a:gd name="connsiteX306" fmla="*/ 3982425 w 8009775"/>
              <a:gd name="connsiteY306" fmla="*/ 1606869 h 6858001"/>
              <a:gd name="connsiteX307" fmla="*/ 3986858 w 8009775"/>
              <a:gd name="connsiteY307" fmla="*/ 1602423 h 6858001"/>
              <a:gd name="connsiteX308" fmla="*/ 3991587 w 8009775"/>
              <a:gd name="connsiteY308" fmla="*/ 1598296 h 6858001"/>
              <a:gd name="connsiteX309" fmla="*/ 3996021 w 8009775"/>
              <a:gd name="connsiteY309" fmla="*/ 1593533 h 6858001"/>
              <a:gd name="connsiteX310" fmla="*/ 4000159 w 8009775"/>
              <a:gd name="connsiteY310" fmla="*/ 1588771 h 6858001"/>
              <a:gd name="connsiteX311" fmla="*/ 4003705 w 8009775"/>
              <a:gd name="connsiteY311" fmla="*/ 1583691 h 6858001"/>
              <a:gd name="connsiteX312" fmla="*/ 4007548 w 8009775"/>
              <a:gd name="connsiteY312" fmla="*/ 1578928 h 6858001"/>
              <a:gd name="connsiteX313" fmla="*/ 4010799 w 8009775"/>
              <a:gd name="connsiteY313" fmla="*/ 1573849 h 6858001"/>
              <a:gd name="connsiteX314" fmla="*/ 4013459 w 8009775"/>
              <a:gd name="connsiteY314" fmla="*/ 1568451 h 6858001"/>
              <a:gd name="connsiteX315" fmla="*/ 4016415 w 8009775"/>
              <a:gd name="connsiteY315" fmla="*/ 1563054 h 6858001"/>
              <a:gd name="connsiteX316" fmla="*/ 4018484 w 8009775"/>
              <a:gd name="connsiteY316" fmla="*/ 1557339 h 6858001"/>
              <a:gd name="connsiteX317" fmla="*/ 4020848 w 8009775"/>
              <a:gd name="connsiteY317" fmla="*/ 1551941 h 6858001"/>
              <a:gd name="connsiteX318" fmla="*/ 4022621 w 8009775"/>
              <a:gd name="connsiteY318" fmla="*/ 1546226 h 6858001"/>
              <a:gd name="connsiteX319" fmla="*/ 4024395 w 8009775"/>
              <a:gd name="connsiteY319" fmla="*/ 1540511 h 6858001"/>
              <a:gd name="connsiteX320" fmla="*/ 4025282 w 8009775"/>
              <a:gd name="connsiteY320" fmla="*/ 1534478 h 6858001"/>
              <a:gd name="connsiteX321" fmla="*/ 4026464 w 8009775"/>
              <a:gd name="connsiteY321" fmla="*/ 1528763 h 6858001"/>
              <a:gd name="connsiteX322" fmla="*/ 4027055 w 8009775"/>
              <a:gd name="connsiteY322" fmla="*/ 1522731 h 6858001"/>
              <a:gd name="connsiteX323" fmla="*/ 4027646 w 8009775"/>
              <a:gd name="connsiteY323" fmla="*/ 1517016 h 6858001"/>
              <a:gd name="connsiteX324" fmla="*/ 4027646 w 8009775"/>
              <a:gd name="connsiteY324" fmla="*/ 1510984 h 6858001"/>
              <a:gd name="connsiteX325" fmla="*/ 4027646 w 8009775"/>
              <a:gd name="connsiteY325" fmla="*/ 1505268 h 6858001"/>
              <a:gd name="connsiteX326" fmla="*/ 4027055 w 8009775"/>
              <a:gd name="connsiteY326" fmla="*/ 1499553 h 6858001"/>
              <a:gd name="connsiteX327" fmla="*/ 4026464 w 8009775"/>
              <a:gd name="connsiteY327" fmla="*/ 1493204 h 6858001"/>
              <a:gd name="connsiteX328" fmla="*/ 4025282 w 8009775"/>
              <a:gd name="connsiteY328" fmla="*/ 1487489 h 6858001"/>
              <a:gd name="connsiteX329" fmla="*/ 4024395 w 8009775"/>
              <a:gd name="connsiteY329" fmla="*/ 1481773 h 6858001"/>
              <a:gd name="connsiteX330" fmla="*/ 4022621 w 8009775"/>
              <a:gd name="connsiteY330" fmla="*/ 1476058 h 6858001"/>
              <a:gd name="connsiteX331" fmla="*/ 4020848 w 8009775"/>
              <a:gd name="connsiteY331" fmla="*/ 1470343 h 6858001"/>
              <a:gd name="connsiteX332" fmla="*/ 4018484 w 8009775"/>
              <a:gd name="connsiteY332" fmla="*/ 1464629 h 6858001"/>
              <a:gd name="connsiteX333" fmla="*/ 4016415 w 8009775"/>
              <a:gd name="connsiteY333" fmla="*/ 1459231 h 6858001"/>
              <a:gd name="connsiteX334" fmla="*/ 4013459 w 8009775"/>
              <a:gd name="connsiteY334" fmla="*/ 1453834 h 6858001"/>
              <a:gd name="connsiteX335" fmla="*/ 4010799 w 8009775"/>
              <a:gd name="connsiteY335" fmla="*/ 1448436 h 6858001"/>
              <a:gd name="connsiteX336" fmla="*/ 4007548 w 8009775"/>
              <a:gd name="connsiteY336" fmla="*/ 1443356 h 6858001"/>
              <a:gd name="connsiteX337" fmla="*/ 4003705 w 8009775"/>
              <a:gd name="connsiteY337" fmla="*/ 1438275 h 6858001"/>
              <a:gd name="connsiteX338" fmla="*/ 4000159 w 8009775"/>
              <a:gd name="connsiteY338" fmla="*/ 1433195 h 6858001"/>
              <a:gd name="connsiteX339" fmla="*/ 3996021 w 8009775"/>
              <a:gd name="connsiteY339" fmla="*/ 1428751 h 6858001"/>
              <a:gd name="connsiteX340" fmla="*/ 3991587 w 8009775"/>
              <a:gd name="connsiteY340" fmla="*/ 1423988 h 6858001"/>
              <a:gd name="connsiteX341" fmla="*/ 3323022 w 8009775"/>
              <a:gd name="connsiteY341" fmla="*/ 755333 h 6858001"/>
              <a:gd name="connsiteX342" fmla="*/ 3316815 w 8009775"/>
              <a:gd name="connsiteY342" fmla="*/ 748348 h 6858001"/>
              <a:gd name="connsiteX343" fmla="*/ 3310904 w 8009775"/>
              <a:gd name="connsiteY343" fmla="*/ 741045 h 6858001"/>
              <a:gd name="connsiteX344" fmla="*/ 3305584 w 8009775"/>
              <a:gd name="connsiteY344" fmla="*/ 733108 h 6858001"/>
              <a:gd name="connsiteX345" fmla="*/ 3300855 w 8009775"/>
              <a:gd name="connsiteY345" fmla="*/ 725170 h 6858001"/>
              <a:gd name="connsiteX346" fmla="*/ 3297308 w 8009775"/>
              <a:gd name="connsiteY346" fmla="*/ 716915 h 6858001"/>
              <a:gd name="connsiteX347" fmla="*/ 3293761 w 8009775"/>
              <a:gd name="connsiteY347" fmla="*/ 708660 h 6858001"/>
              <a:gd name="connsiteX348" fmla="*/ 3291101 w 8009775"/>
              <a:gd name="connsiteY348" fmla="*/ 699770 h 6858001"/>
              <a:gd name="connsiteX349" fmla="*/ 3289328 w 8009775"/>
              <a:gd name="connsiteY349" fmla="*/ 691198 h 6858001"/>
              <a:gd name="connsiteX350" fmla="*/ 2596527 w 8009775"/>
              <a:gd name="connsiteY350" fmla="*/ 0 h 6858001"/>
              <a:gd name="connsiteX0" fmla="*/ 2596527 w 8009775"/>
              <a:gd name="connsiteY0" fmla="*/ 0 h 6858001"/>
              <a:gd name="connsiteX1" fmla="*/ 2165004 w 8009775"/>
              <a:gd name="connsiteY1" fmla="*/ 0 h 6858001"/>
              <a:gd name="connsiteX2" fmla="*/ 3265978 w 8009775"/>
              <a:gd name="connsiteY2" fmla="*/ 1101091 h 6858001"/>
              <a:gd name="connsiteX3" fmla="*/ 3270708 w 8009775"/>
              <a:gd name="connsiteY3" fmla="*/ 1105854 h 6858001"/>
              <a:gd name="connsiteX4" fmla="*/ 3274550 w 8009775"/>
              <a:gd name="connsiteY4" fmla="*/ 1110615 h 6858001"/>
              <a:gd name="connsiteX5" fmla="*/ 3278688 w 8009775"/>
              <a:gd name="connsiteY5" fmla="*/ 1115696 h 6858001"/>
              <a:gd name="connsiteX6" fmla="*/ 3282234 w 8009775"/>
              <a:gd name="connsiteY6" fmla="*/ 1120776 h 6858001"/>
              <a:gd name="connsiteX7" fmla="*/ 3285486 w 8009775"/>
              <a:gd name="connsiteY7" fmla="*/ 1126174 h 6858001"/>
              <a:gd name="connsiteX8" fmla="*/ 3288146 w 8009775"/>
              <a:gd name="connsiteY8" fmla="*/ 1131570 h 6858001"/>
              <a:gd name="connsiteX9" fmla="*/ 3291101 w 8009775"/>
              <a:gd name="connsiteY9" fmla="*/ 1136968 h 6858001"/>
              <a:gd name="connsiteX10" fmla="*/ 3293761 w 8009775"/>
              <a:gd name="connsiteY10" fmla="*/ 1142366 h 6858001"/>
              <a:gd name="connsiteX11" fmla="*/ 3295830 w 8009775"/>
              <a:gd name="connsiteY11" fmla="*/ 1148081 h 6858001"/>
              <a:gd name="connsiteX12" fmla="*/ 3297604 w 8009775"/>
              <a:gd name="connsiteY12" fmla="*/ 1153796 h 6858001"/>
              <a:gd name="connsiteX13" fmla="*/ 3299082 w 8009775"/>
              <a:gd name="connsiteY13" fmla="*/ 1159829 h 6858001"/>
              <a:gd name="connsiteX14" fmla="*/ 3300559 w 8009775"/>
              <a:gd name="connsiteY14" fmla="*/ 1165544 h 6858001"/>
              <a:gd name="connsiteX15" fmla="*/ 3301446 w 8009775"/>
              <a:gd name="connsiteY15" fmla="*/ 1171893 h 6858001"/>
              <a:gd name="connsiteX16" fmla="*/ 3302333 w 8009775"/>
              <a:gd name="connsiteY16" fmla="*/ 1177608 h 6858001"/>
              <a:gd name="connsiteX17" fmla="*/ 3302628 w 8009775"/>
              <a:gd name="connsiteY17" fmla="*/ 1183641 h 6858001"/>
              <a:gd name="connsiteX18" fmla="*/ 3302628 w 8009775"/>
              <a:gd name="connsiteY18" fmla="*/ 1189356 h 6858001"/>
              <a:gd name="connsiteX19" fmla="*/ 3302628 w 8009775"/>
              <a:gd name="connsiteY19" fmla="*/ 1195388 h 6858001"/>
              <a:gd name="connsiteX20" fmla="*/ 3302333 w 8009775"/>
              <a:gd name="connsiteY20" fmla="*/ 1201739 h 6858001"/>
              <a:gd name="connsiteX21" fmla="*/ 3301446 w 8009775"/>
              <a:gd name="connsiteY21" fmla="*/ 1207454 h 6858001"/>
              <a:gd name="connsiteX22" fmla="*/ 3300559 w 8009775"/>
              <a:gd name="connsiteY22" fmla="*/ 1213486 h 6858001"/>
              <a:gd name="connsiteX23" fmla="*/ 3299082 w 8009775"/>
              <a:gd name="connsiteY23" fmla="*/ 1219200 h 6858001"/>
              <a:gd name="connsiteX24" fmla="*/ 3297604 w 8009775"/>
              <a:gd name="connsiteY24" fmla="*/ 1225233 h 6858001"/>
              <a:gd name="connsiteX25" fmla="*/ 3295830 w 8009775"/>
              <a:gd name="connsiteY25" fmla="*/ 1230949 h 6858001"/>
              <a:gd name="connsiteX26" fmla="*/ 3293761 w 8009775"/>
              <a:gd name="connsiteY26" fmla="*/ 1236346 h 6858001"/>
              <a:gd name="connsiteX27" fmla="*/ 3291101 w 8009775"/>
              <a:gd name="connsiteY27" fmla="*/ 1242061 h 6858001"/>
              <a:gd name="connsiteX28" fmla="*/ 3288146 w 8009775"/>
              <a:gd name="connsiteY28" fmla="*/ 1247459 h 6858001"/>
              <a:gd name="connsiteX29" fmla="*/ 3285486 w 8009775"/>
              <a:gd name="connsiteY29" fmla="*/ 1252855 h 6858001"/>
              <a:gd name="connsiteX30" fmla="*/ 3282234 w 8009775"/>
              <a:gd name="connsiteY30" fmla="*/ 1258254 h 6858001"/>
              <a:gd name="connsiteX31" fmla="*/ 3278688 w 8009775"/>
              <a:gd name="connsiteY31" fmla="*/ 1263333 h 6858001"/>
              <a:gd name="connsiteX32" fmla="*/ 3274550 w 8009775"/>
              <a:gd name="connsiteY32" fmla="*/ 1268413 h 6858001"/>
              <a:gd name="connsiteX33" fmla="*/ 3270708 w 8009775"/>
              <a:gd name="connsiteY33" fmla="*/ 1273494 h 6858001"/>
              <a:gd name="connsiteX34" fmla="*/ 3265978 w 8009775"/>
              <a:gd name="connsiteY34" fmla="*/ 1278255 h 6858001"/>
              <a:gd name="connsiteX35" fmla="*/ 3261249 w 8009775"/>
              <a:gd name="connsiteY35" fmla="*/ 1282384 h 6858001"/>
              <a:gd name="connsiteX36" fmla="*/ 3256816 w 8009775"/>
              <a:gd name="connsiteY36" fmla="*/ 1286510 h 6858001"/>
              <a:gd name="connsiteX37" fmla="*/ 3251791 w 8009775"/>
              <a:gd name="connsiteY37" fmla="*/ 1290321 h 6858001"/>
              <a:gd name="connsiteX38" fmla="*/ 3246767 w 8009775"/>
              <a:gd name="connsiteY38" fmla="*/ 1293814 h 6858001"/>
              <a:gd name="connsiteX39" fmla="*/ 3241151 w 8009775"/>
              <a:gd name="connsiteY39" fmla="*/ 1297306 h 6858001"/>
              <a:gd name="connsiteX40" fmla="*/ 3235831 w 8009775"/>
              <a:gd name="connsiteY40" fmla="*/ 1300481 h 6858001"/>
              <a:gd name="connsiteX41" fmla="*/ 3230511 w 8009775"/>
              <a:gd name="connsiteY41" fmla="*/ 1303021 h 6858001"/>
              <a:gd name="connsiteX42" fmla="*/ 3224600 w 8009775"/>
              <a:gd name="connsiteY42" fmla="*/ 1305560 h 6858001"/>
              <a:gd name="connsiteX43" fmla="*/ 3218984 w 8009775"/>
              <a:gd name="connsiteY43" fmla="*/ 1307465 h 6858001"/>
              <a:gd name="connsiteX44" fmla="*/ 3213072 w 8009775"/>
              <a:gd name="connsiteY44" fmla="*/ 1309371 h 6858001"/>
              <a:gd name="connsiteX45" fmla="*/ 3207457 w 8009775"/>
              <a:gd name="connsiteY45" fmla="*/ 1311275 h 6858001"/>
              <a:gd name="connsiteX46" fmla="*/ 3201841 w 8009775"/>
              <a:gd name="connsiteY46" fmla="*/ 1312228 h 6858001"/>
              <a:gd name="connsiteX47" fmla="*/ 3195634 w 8009775"/>
              <a:gd name="connsiteY47" fmla="*/ 1313180 h 6858001"/>
              <a:gd name="connsiteX48" fmla="*/ 3189428 w 8009775"/>
              <a:gd name="connsiteY48" fmla="*/ 1314133 h 6858001"/>
              <a:gd name="connsiteX49" fmla="*/ 3183812 w 8009775"/>
              <a:gd name="connsiteY49" fmla="*/ 1314450 h 6858001"/>
              <a:gd name="connsiteX50" fmla="*/ 3177605 w 8009775"/>
              <a:gd name="connsiteY50" fmla="*/ 1314769 h 6858001"/>
              <a:gd name="connsiteX51" fmla="*/ 3171694 w 8009775"/>
              <a:gd name="connsiteY51" fmla="*/ 1314450 h 6858001"/>
              <a:gd name="connsiteX52" fmla="*/ 3165782 w 8009775"/>
              <a:gd name="connsiteY52" fmla="*/ 1314133 h 6858001"/>
              <a:gd name="connsiteX53" fmla="*/ 3159576 w 8009775"/>
              <a:gd name="connsiteY53" fmla="*/ 1313180 h 6858001"/>
              <a:gd name="connsiteX54" fmla="*/ 3153960 w 8009775"/>
              <a:gd name="connsiteY54" fmla="*/ 1312228 h 6858001"/>
              <a:gd name="connsiteX55" fmla="*/ 3147753 w 8009775"/>
              <a:gd name="connsiteY55" fmla="*/ 1311275 h 6858001"/>
              <a:gd name="connsiteX56" fmla="*/ 3142137 w 8009775"/>
              <a:gd name="connsiteY56" fmla="*/ 1309371 h 6858001"/>
              <a:gd name="connsiteX57" fmla="*/ 3136226 w 8009775"/>
              <a:gd name="connsiteY57" fmla="*/ 1307465 h 6858001"/>
              <a:gd name="connsiteX58" fmla="*/ 3130610 w 8009775"/>
              <a:gd name="connsiteY58" fmla="*/ 1305560 h 6858001"/>
              <a:gd name="connsiteX59" fmla="*/ 3124994 w 8009775"/>
              <a:gd name="connsiteY59" fmla="*/ 1303021 h 6858001"/>
              <a:gd name="connsiteX60" fmla="*/ 3119379 w 8009775"/>
              <a:gd name="connsiteY60" fmla="*/ 1300481 h 6858001"/>
              <a:gd name="connsiteX61" fmla="*/ 3114059 w 8009775"/>
              <a:gd name="connsiteY61" fmla="*/ 1297306 h 6858001"/>
              <a:gd name="connsiteX62" fmla="*/ 3109034 w 8009775"/>
              <a:gd name="connsiteY62" fmla="*/ 1293814 h 6858001"/>
              <a:gd name="connsiteX63" fmla="*/ 3103714 w 8009775"/>
              <a:gd name="connsiteY63" fmla="*/ 1290321 h 6858001"/>
              <a:gd name="connsiteX64" fmla="*/ 3098689 w 8009775"/>
              <a:gd name="connsiteY64" fmla="*/ 1286510 h 6858001"/>
              <a:gd name="connsiteX65" fmla="*/ 3093960 w 8009775"/>
              <a:gd name="connsiteY65" fmla="*/ 1282384 h 6858001"/>
              <a:gd name="connsiteX66" fmla="*/ 3089231 w 8009775"/>
              <a:gd name="connsiteY66" fmla="*/ 1278255 h 6858001"/>
              <a:gd name="connsiteX67" fmla="*/ 1811214 w 8009775"/>
              <a:gd name="connsiteY67" fmla="*/ 0 h 6858001"/>
              <a:gd name="connsiteX68" fmla="*/ 551808 w 8009775"/>
              <a:gd name="connsiteY68" fmla="*/ 0 h 6858001"/>
              <a:gd name="connsiteX69" fmla="*/ 55488 w 8009775"/>
              <a:gd name="connsiteY69" fmla="*/ 0 h 6858001"/>
              <a:gd name="connsiteX70" fmla="*/ 0 w 8009775"/>
              <a:gd name="connsiteY70" fmla="*/ 0 h 6858001"/>
              <a:gd name="connsiteX71" fmla="*/ 0 w 8009775"/>
              <a:gd name="connsiteY71" fmla="*/ 6858000 h 6858001"/>
              <a:gd name="connsiteX72" fmla="*/ 7507651 w 8009775"/>
              <a:gd name="connsiteY72" fmla="*/ 6858001 h 6858001"/>
              <a:gd name="connsiteX73" fmla="*/ 8009775 w 8009775"/>
              <a:gd name="connsiteY73" fmla="*/ 6858000 h 6858001"/>
              <a:gd name="connsiteX74" fmla="*/ 3996316 w 8009775"/>
              <a:gd name="connsiteY74" fmla="*/ 2818448 h 6858001"/>
              <a:gd name="connsiteX75" fmla="*/ 3980947 w 8009775"/>
              <a:gd name="connsiteY75" fmla="*/ 2804795 h 6858001"/>
              <a:gd name="connsiteX76" fmla="*/ 3965282 w 8009775"/>
              <a:gd name="connsiteY76" fmla="*/ 2791144 h 6858001"/>
              <a:gd name="connsiteX77" fmla="*/ 3950799 w 8009775"/>
              <a:gd name="connsiteY77" fmla="*/ 2776856 h 6858001"/>
              <a:gd name="connsiteX78" fmla="*/ 3936021 w 8009775"/>
              <a:gd name="connsiteY78" fmla="*/ 2762568 h 6858001"/>
              <a:gd name="connsiteX79" fmla="*/ 3001744 w 8009775"/>
              <a:gd name="connsiteY79" fmla="*/ 1828166 h 6858001"/>
              <a:gd name="connsiteX80" fmla="*/ 2997311 w 8009775"/>
              <a:gd name="connsiteY80" fmla="*/ 1823404 h 6858001"/>
              <a:gd name="connsiteX81" fmla="*/ 2992878 w 8009775"/>
              <a:gd name="connsiteY81" fmla="*/ 1818640 h 6858001"/>
              <a:gd name="connsiteX82" fmla="*/ 2989331 w 8009775"/>
              <a:gd name="connsiteY82" fmla="*/ 1814195 h 6858001"/>
              <a:gd name="connsiteX83" fmla="*/ 2985784 w 8009775"/>
              <a:gd name="connsiteY83" fmla="*/ 1808799 h 6858001"/>
              <a:gd name="connsiteX84" fmla="*/ 2982533 w 8009775"/>
              <a:gd name="connsiteY84" fmla="*/ 1803718 h 6858001"/>
              <a:gd name="connsiteX85" fmla="*/ 2979873 w 8009775"/>
              <a:gd name="connsiteY85" fmla="*/ 1798321 h 6858001"/>
              <a:gd name="connsiteX86" fmla="*/ 2976917 w 8009775"/>
              <a:gd name="connsiteY86" fmla="*/ 1792924 h 6858001"/>
              <a:gd name="connsiteX87" fmla="*/ 2974552 w 8009775"/>
              <a:gd name="connsiteY87" fmla="*/ 1787526 h 6858001"/>
              <a:gd name="connsiteX88" fmla="*/ 2972484 w 8009775"/>
              <a:gd name="connsiteY88" fmla="*/ 1781811 h 6858001"/>
              <a:gd name="connsiteX89" fmla="*/ 2970710 w 8009775"/>
              <a:gd name="connsiteY89" fmla="*/ 1776095 h 6858001"/>
              <a:gd name="connsiteX90" fmla="*/ 2968937 w 8009775"/>
              <a:gd name="connsiteY90" fmla="*/ 1770380 h 6858001"/>
              <a:gd name="connsiteX91" fmla="*/ 2967755 w 8009775"/>
              <a:gd name="connsiteY91" fmla="*/ 1764665 h 6858001"/>
              <a:gd name="connsiteX92" fmla="*/ 2966868 w 8009775"/>
              <a:gd name="connsiteY92" fmla="*/ 1758634 h 6858001"/>
              <a:gd name="connsiteX93" fmla="*/ 2965981 w 8009775"/>
              <a:gd name="connsiteY93" fmla="*/ 1752919 h 6858001"/>
              <a:gd name="connsiteX94" fmla="*/ 2965686 w 8009775"/>
              <a:gd name="connsiteY94" fmla="*/ 1746885 h 6858001"/>
              <a:gd name="connsiteX95" fmla="*/ 2965686 w 8009775"/>
              <a:gd name="connsiteY95" fmla="*/ 1741170 h 6858001"/>
              <a:gd name="connsiteX96" fmla="*/ 2965686 w 8009775"/>
              <a:gd name="connsiteY96" fmla="*/ 1735139 h 6858001"/>
              <a:gd name="connsiteX97" fmla="*/ 2965981 w 8009775"/>
              <a:gd name="connsiteY97" fmla="*/ 1729424 h 6858001"/>
              <a:gd name="connsiteX98" fmla="*/ 2966868 w 8009775"/>
              <a:gd name="connsiteY98" fmla="*/ 1723074 h 6858001"/>
              <a:gd name="connsiteX99" fmla="*/ 2967755 w 8009775"/>
              <a:gd name="connsiteY99" fmla="*/ 1717358 h 6858001"/>
              <a:gd name="connsiteX100" fmla="*/ 2968937 w 8009775"/>
              <a:gd name="connsiteY100" fmla="*/ 1711643 h 6858001"/>
              <a:gd name="connsiteX101" fmla="*/ 2970710 w 8009775"/>
              <a:gd name="connsiteY101" fmla="*/ 1705929 h 6858001"/>
              <a:gd name="connsiteX102" fmla="*/ 2972484 w 8009775"/>
              <a:gd name="connsiteY102" fmla="*/ 1700214 h 6858001"/>
              <a:gd name="connsiteX103" fmla="*/ 2974552 w 8009775"/>
              <a:gd name="connsiteY103" fmla="*/ 1694816 h 6858001"/>
              <a:gd name="connsiteX104" fmla="*/ 2976917 w 8009775"/>
              <a:gd name="connsiteY104" fmla="*/ 1689101 h 6858001"/>
              <a:gd name="connsiteX105" fmla="*/ 2979873 w 8009775"/>
              <a:gd name="connsiteY105" fmla="*/ 1683703 h 6858001"/>
              <a:gd name="connsiteX106" fmla="*/ 2982533 w 8009775"/>
              <a:gd name="connsiteY106" fmla="*/ 1678305 h 6858001"/>
              <a:gd name="connsiteX107" fmla="*/ 2985784 w 8009775"/>
              <a:gd name="connsiteY107" fmla="*/ 1673226 h 6858001"/>
              <a:gd name="connsiteX108" fmla="*/ 2989331 w 8009775"/>
              <a:gd name="connsiteY108" fmla="*/ 1668145 h 6858001"/>
              <a:gd name="connsiteX109" fmla="*/ 2992878 w 8009775"/>
              <a:gd name="connsiteY109" fmla="*/ 1663066 h 6858001"/>
              <a:gd name="connsiteX110" fmla="*/ 2997311 w 8009775"/>
              <a:gd name="connsiteY110" fmla="*/ 1658621 h 6858001"/>
              <a:gd name="connsiteX111" fmla="*/ 3001744 w 8009775"/>
              <a:gd name="connsiteY111" fmla="*/ 1653859 h 6858001"/>
              <a:gd name="connsiteX112" fmla="*/ 3006178 w 8009775"/>
              <a:gd name="connsiteY112" fmla="*/ 1649414 h 6858001"/>
              <a:gd name="connsiteX113" fmla="*/ 3010907 w 8009775"/>
              <a:gd name="connsiteY113" fmla="*/ 1645603 h 6858001"/>
              <a:gd name="connsiteX114" fmla="*/ 3015932 w 8009775"/>
              <a:gd name="connsiteY114" fmla="*/ 1641794 h 6858001"/>
              <a:gd name="connsiteX115" fmla="*/ 3020956 w 8009775"/>
              <a:gd name="connsiteY115" fmla="*/ 1637984 h 6858001"/>
              <a:gd name="connsiteX116" fmla="*/ 3025981 w 8009775"/>
              <a:gd name="connsiteY116" fmla="*/ 1634809 h 6858001"/>
              <a:gd name="connsiteX117" fmla="*/ 3031596 w 8009775"/>
              <a:gd name="connsiteY117" fmla="*/ 1631950 h 6858001"/>
              <a:gd name="connsiteX118" fmla="*/ 3036916 w 8009775"/>
              <a:gd name="connsiteY118" fmla="*/ 1629094 h 6858001"/>
              <a:gd name="connsiteX119" fmla="*/ 3042532 w 8009775"/>
              <a:gd name="connsiteY119" fmla="*/ 1626871 h 6858001"/>
              <a:gd name="connsiteX120" fmla="*/ 3047852 w 8009775"/>
              <a:gd name="connsiteY120" fmla="*/ 1624649 h 6858001"/>
              <a:gd name="connsiteX121" fmla="*/ 3053764 w 8009775"/>
              <a:gd name="connsiteY121" fmla="*/ 1623061 h 6858001"/>
              <a:gd name="connsiteX122" fmla="*/ 3059379 w 8009775"/>
              <a:gd name="connsiteY122" fmla="*/ 1621155 h 6858001"/>
              <a:gd name="connsiteX123" fmla="*/ 3065291 w 8009775"/>
              <a:gd name="connsiteY123" fmla="*/ 1620204 h 6858001"/>
              <a:gd name="connsiteX124" fmla="*/ 3070906 w 8009775"/>
              <a:gd name="connsiteY124" fmla="*/ 1618934 h 6858001"/>
              <a:gd name="connsiteX125" fmla="*/ 3077113 w 8009775"/>
              <a:gd name="connsiteY125" fmla="*/ 1618299 h 6858001"/>
              <a:gd name="connsiteX126" fmla="*/ 3082729 w 8009775"/>
              <a:gd name="connsiteY126" fmla="*/ 1617981 h 6858001"/>
              <a:gd name="connsiteX127" fmla="*/ 3088936 w 8009775"/>
              <a:gd name="connsiteY127" fmla="*/ 1617981 h 6858001"/>
              <a:gd name="connsiteX128" fmla="*/ 3094552 w 8009775"/>
              <a:gd name="connsiteY128" fmla="*/ 1617981 h 6858001"/>
              <a:gd name="connsiteX129" fmla="*/ 3100758 w 8009775"/>
              <a:gd name="connsiteY129" fmla="*/ 1618299 h 6858001"/>
              <a:gd name="connsiteX130" fmla="*/ 3106670 w 8009775"/>
              <a:gd name="connsiteY130" fmla="*/ 1618934 h 6858001"/>
              <a:gd name="connsiteX131" fmla="*/ 3112285 w 8009775"/>
              <a:gd name="connsiteY131" fmla="*/ 1620204 h 6858001"/>
              <a:gd name="connsiteX132" fmla="*/ 3117901 w 8009775"/>
              <a:gd name="connsiteY132" fmla="*/ 1621155 h 6858001"/>
              <a:gd name="connsiteX133" fmla="*/ 3123812 w 8009775"/>
              <a:gd name="connsiteY133" fmla="*/ 1623061 h 6858001"/>
              <a:gd name="connsiteX134" fmla="*/ 3129428 w 8009775"/>
              <a:gd name="connsiteY134" fmla="*/ 1624649 h 6858001"/>
              <a:gd name="connsiteX135" fmla="*/ 3135339 w 8009775"/>
              <a:gd name="connsiteY135" fmla="*/ 1626871 h 6858001"/>
              <a:gd name="connsiteX136" fmla="*/ 3140660 w 8009775"/>
              <a:gd name="connsiteY136" fmla="*/ 1629094 h 6858001"/>
              <a:gd name="connsiteX137" fmla="*/ 3145980 w 8009775"/>
              <a:gd name="connsiteY137" fmla="*/ 1631950 h 6858001"/>
              <a:gd name="connsiteX138" fmla="*/ 3151300 w 8009775"/>
              <a:gd name="connsiteY138" fmla="*/ 1634809 h 6858001"/>
              <a:gd name="connsiteX139" fmla="*/ 3156324 w 8009775"/>
              <a:gd name="connsiteY139" fmla="*/ 1637984 h 6858001"/>
              <a:gd name="connsiteX140" fmla="*/ 3161349 w 8009775"/>
              <a:gd name="connsiteY140" fmla="*/ 1641794 h 6858001"/>
              <a:gd name="connsiteX141" fmla="*/ 3166374 w 8009775"/>
              <a:gd name="connsiteY141" fmla="*/ 1645603 h 6858001"/>
              <a:gd name="connsiteX142" fmla="*/ 3171102 w 8009775"/>
              <a:gd name="connsiteY142" fmla="*/ 1649414 h 6858001"/>
              <a:gd name="connsiteX143" fmla="*/ 3175832 w 8009775"/>
              <a:gd name="connsiteY143" fmla="*/ 1653859 h 6858001"/>
              <a:gd name="connsiteX144" fmla="*/ 3844692 w 8009775"/>
              <a:gd name="connsiteY144" fmla="*/ 2322830 h 6858001"/>
              <a:gd name="connsiteX145" fmla="*/ 3849421 w 8009775"/>
              <a:gd name="connsiteY145" fmla="*/ 2326958 h 6858001"/>
              <a:gd name="connsiteX146" fmla="*/ 3854150 w 8009775"/>
              <a:gd name="connsiteY146" fmla="*/ 2331085 h 6858001"/>
              <a:gd name="connsiteX147" fmla="*/ 3859175 w 8009775"/>
              <a:gd name="connsiteY147" fmla="*/ 2334895 h 6858001"/>
              <a:gd name="connsiteX148" fmla="*/ 3864199 w 8009775"/>
              <a:gd name="connsiteY148" fmla="*/ 2338705 h 6858001"/>
              <a:gd name="connsiteX149" fmla="*/ 3869224 w 8009775"/>
              <a:gd name="connsiteY149" fmla="*/ 2341880 h 6858001"/>
              <a:gd name="connsiteX150" fmla="*/ 3874544 w 8009775"/>
              <a:gd name="connsiteY150" fmla="*/ 2344738 h 6858001"/>
              <a:gd name="connsiteX151" fmla="*/ 3879864 w 8009775"/>
              <a:gd name="connsiteY151" fmla="*/ 2347595 h 6858001"/>
              <a:gd name="connsiteX152" fmla="*/ 3885775 w 8009775"/>
              <a:gd name="connsiteY152" fmla="*/ 2349818 h 6858001"/>
              <a:gd name="connsiteX153" fmla="*/ 3891096 w 8009775"/>
              <a:gd name="connsiteY153" fmla="*/ 2351723 h 6858001"/>
              <a:gd name="connsiteX154" fmla="*/ 3896711 w 8009775"/>
              <a:gd name="connsiteY154" fmla="*/ 2353628 h 6858001"/>
              <a:gd name="connsiteX155" fmla="*/ 3902623 w 8009775"/>
              <a:gd name="connsiteY155" fmla="*/ 2355534 h 6858001"/>
              <a:gd name="connsiteX156" fmla="*/ 3908238 w 8009775"/>
              <a:gd name="connsiteY156" fmla="*/ 2356485 h 6858001"/>
              <a:gd name="connsiteX157" fmla="*/ 3914150 w 8009775"/>
              <a:gd name="connsiteY157" fmla="*/ 2357755 h 6858001"/>
              <a:gd name="connsiteX158" fmla="*/ 3920061 w 8009775"/>
              <a:gd name="connsiteY158" fmla="*/ 2358391 h 6858001"/>
              <a:gd name="connsiteX159" fmla="*/ 3925972 w 8009775"/>
              <a:gd name="connsiteY159" fmla="*/ 2358708 h 6858001"/>
              <a:gd name="connsiteX160" fmla="*/ 3931883 w 8009775"/>
              <a:gd name="connsiteY160" fmla="*/ 2358708 h 6858001"/>
              <a:gd name="connsiteX161" fmla="*/ 3937795 w 8009775"/>
              <a:gd name="connsiteY161" fmla="*/ 2358708 h 6858001"/>
              <a:gd name="connsiteX162" fmla="*/ 3943706 w 8009775"/>
              <a:gd name="connsiteY162" fmla="*/ 2358391 h 6858001"/>
              <a:gd name="connsiteX163" fmla="*/ 3949617 w 8009775"/>
              <a:gd name="connsiteY163" fmla="*/ 2357755 h 6858001"/>
              <a:gd name="connsiteX164" fmla="*/ 3955233 w 8009775"/>
              <a:gd name="connsiteY164" fmla="*/ 2356485 h 6858001"/>
              <a:gd name="connsiteX165" fmla="*/ 3961144 w 8009775"/>
              <a:gd name="connsiteY165" fmla="*/ 2355534 h 6858001"/>
              <a:gd name="connsiteX166" fmla="*/ 3966760 w 8009775"/>
              <a:gd name="connsiteY166" fmla="*/ 2353628 h 6858001"/>
              <a:gd name="connsiteX167" fmla="*/ 3972671 w 8009775"/>
              <a:gd name="connsiteY167" fmla="*/ 2351723 h 6858001"/>
              <a:gd name="connsiteX168" fmla="*/ 3978287 w 8009775"/>
              <a:gd name="connsiteY168" fmla="*/ 2349818 h 6858001"/>
              <a:gd name="connsiteX169" fmla="*/ 3983607 w 8009775"/>
              <a:gd name="connsiteY169" fmla="*/ 2347595 h 6858001"/>
              <a:gd name="connsiteX170" fmla="*/ 3989223 w 8009775"/>
              <a:gd name="connsiteY170" fmla="*/ 2344738 h 6858001"/>
              <a:gd name="connsiteX171" fmla="*/ 3994543 w 8009775"/>
              <a:gd name="connsiteY171" fmla="*/ 2341880 h 6858001"/>
              <a:gd name="connsiteX172" fmla="*/ 3999567 w 8009775"/>
              <a:gd name="connsiteY172" fmla="*/ 2338705 h 6858001"/>
              <a:gd name="connsiteX173" fmla="*/ 4004888 w 8009775"/>
              <a:gd name="connsiteY173" fmla="*/ 2334895 h 6858001"/>
              <a:gd name="connsiteX174" fmla="*/ 4009617 w 8009775"/>
              <a:gd name="connsiteY174" fmla="*/ 2331085 h 6858001"/>
              <a:gd name="connsiteX175" fmla="*/ 4014346 w 8009775"/>
              <a:gd name="connsiteY175" fmla="*/ 2326958 h 6858001"/>
              <a:gd name="connsiteX176" fmla="*/ 4018779 w 8009775"/>
              <a:gd name="connsiteY176" fmla="*/ 2322830 h 6858001"/>
              <a:gd name="connsiteX177" fmla="*/ 4023213 w 8009775"/>
              <a:gd name="connsiteY177" fmla="*/ 2318068 h 6858001"/>
              <a:gd name="connsiteX178" fmla="*/ 4027646 w 8009775"/>
              <a:gd name="connsiteY178" fmla="*/ 2313306 h 6858001"/>
              <a:gd name="connsiteX179" fmla="*/ 4031193 w 8009775"/>
              <a:gd name="connsiteY179" fmla="*/ 2308544 h 6858001"/>
              <a:gd name="connsiteX180" fmla="*/ 4034740 w 8009775"/>
              <a:gd name="connsiteY180" fmla="*/ 2303463 h 6858001"/>
              <a:gd name="connsiteX181" fmla="*/ 4037991 w 8009775"/>
              <a:gd name="connsiteY181" fmla="*/ 2298384 h 6858001"/>
              <a:gd name="connsiteX182" fmla="*/ 4040946 w 8009775"/>
              <a:gd name="connsiteY182" fmla="*/ 2292985 h 6858001"/>
              <a:gd name="connsiteX183" fmla="*/ 4043606 w 8009775"/>
              <a:gd name="connsiteY183" fmla="*/ 2287588 h 6858001"/>
              <a:gd name="connsiteX184" fmla="*/ 4046267 w 8009775"/>
              <a:gd name="connsiteY184" fmla="*/ 2281873 h 6858001"/>
              <a:gd name="connsiteX185" fmla="*/ 4048040 w 8009775"/>
              <a:gd name="connsiteY185" fmla="*/ 2276476 h 6858001"/>
              <a:gd name="connsiteX186" fmla="*/ 4050109 w 8009775"/>
              <a:gd name="connsiteY186" fmla="*/ 2270761 h 6858001"/>
              <a:gd name="connsiteX187" fmla="*/ 4051587 w 8009775"/>
              <a:gd name="connsiteY187" fmla="*/ 2265046 h 6858001"/>
              <a:gd name="connsiteX188" fmla="*/ 4052769 w 8009775"/>
              <a:gd name="connsiteY188" fmla="*/ 2259331 h 6858001"/>
              <a:gd name="connsiteX189" fmla="*/ 4053656 w 8009775"/>
              <a:gd name="connsiteY189" fmla="*/ 2253298 h 6858001"/>
              <a:gd name="connsiteX190" fmla="*/ 4054542 w 8009775"/>
              <a:gd name="connsiteY190" fmla="*/ 2247266 h 6858001"/>
              <a:gd name="connsiteX191" fmla="*/ 4054838 w 8009775"/>
              <a:gd name="connsiteY191" fmla="*/ 2241551 h 6858001"/>
              <a:gd name="connsiteX192" fmla="*/ 4055133 w 8009775"/>
              <a:gd name="connsiteY192" fmla="*/ 2235519 h 6858001"/>
              <a:gd name="connsiteX193" fmla="*/ 4054838 w 8009775"/>
              <a:gd name="connsiteY193" fmla="*/ 2229804 h 6858001"/>
              <a:gd name="connsiteX194" fmla="*/ 4054542 w 8009775"/>
              <a:gd name="connsiteY194" fmla="*/ 2223770 h 6858001"/>
              <a:gd name="connsiteX195" fmla="*/ 4053656 w 8009775"/>
              <a:gd name="connsiteY195" fmla="*/ 2217739 h 6858001"/>
              <a:gd name="connsiteX196" fmla="*/ 4052769 w 8009775"/>
              <a:gd name="connsiteY196" fmla="*/ 2212024 h 6858001"/>
              <a:gd name="connsiteX197" fmla="*/ 4051587 w 8009775"/>
              <a:gd name="connsiteY197" fmla="*/ 2206309 h 6858001"/>
              <a:gd name="connsiteX198" fmla="*/ 4050109 w 8009775"/>
              <a:gd name="connsiteY198" fmla="*/ 2200593 h 6858001"/>
              <a:gd name="connsiteX199" fmla="*/ 4048040 w 8009775"/>
              <a:gd name="connsiteY199" fmla="*/ 2194878 h 6858001"/>
              <a:gd name="connsiteX200" fmla="*/ 4046267 w 8009775"/>
              <a:gd name="connsiteY200" fmla="*/ 2189163 h 6858001"/>
              <a:gd name="connsiteX201" fmla="*/ 4043606 w 8009775"/>
              <a:gd name="connsiteY201" fmla="*/ 2183765 h 6858001"/>
              <a:gd name="connsiteX202" fmla="*/ 4040946 w 8009775"/>
              <a:gd name="connsiteY202" fmla="*/ 2178368 h 6858001"/>
              <a:gd name="connsiteX203" fmla="*/ 4037991 w 8009775"/>
              <a:gd name="connsiteY203" fmla="*/ 2172970 h 6858001"/>
              <a:gd name="connsiteX204" fmla="*/ 4034740 w 8009775"/>
              <a:gd name="connsiteY204" fmla="*/ 2167890 h 6858001"/>
              <a:gd name="connsiteX205" fmla="*/ 4031193 w 8009775"/>
              <a:gd name="connsiteY205" fmla="*/ 2162494 h 6858001"/>
              <a:gd name="connsiteX206" fmla="*/ 4027646 w 8009775"/>
              <a:gd name="connsiteY206" fmla="*/ 2157730 h 6858001"/>
              <a:gd name="connsiteX207" fmla="*/ 4023213 w 8009775"/>
              <a:gd name="connsiteY207" fmla="*/ 2153285 h 6858001"/>
              <a:gd name="connsiteX208" fmla="*/ 4018779 w 8009775"/>
              <a:gd name="connsiteY208" fmla="*/ 2148523 h 6858001"/>
              <a:gd name="connsiteX209" fmla="*/ 3632182 w 8009775"/>
              <a:gd name="connsiteY209" fmla="*/ 1761490 h 6858001"/>
              <a:gd name="connsiteX210" fmla="*/ 3435928 w 8009775"/>
              <a:gd name="connsiteY210" fmla="*/ 1565276 h 6858001"/>
              <a:gd name="connsiteX211" fmla="*/ 3431198 w 8009775"/>
              <a:gd name="connsiteY211" fmla="*/ 1560514 h 6858001"/>
              <a:gd name="connsiteX212" fmla="*/ 3427356 w 8009775"/>
              <a:gd name="connsiteY212" fmla="*/ 1555751 h 6858001"/>
              <a:gd name="connsiteX213" fmla="*/ 3423218 w 8009775"/>
              <a:gd name="connsiteY213" fmla="*/ 1550671 h 6858001"/>
              <a:gd name="connsiteX214" fmla="*/ 3420262 w 8009775"/>
              <a:gd name="connsiteY214" fmla="*/ 1545909 h 6858001"/>
              <a:gd name="connsiteX215" fmla="*/ 3417012 w 8009775"/>
              <a:gd name="connsiteY215" fmla="*/ 1540829 h 6858001"/>
              <a:gd name="connsiteX216" fmla="*/ 3413760 w 8009775"/>
              <a:gd name="connsiteY216" fmla="*/ 1535430 h 6858001"/>
              <a:gd name="connsiteX217" fmla="*/ 3411100 w 8009775"/>
              <a:gd name="connsiteY217" fmla="*/ 1530034 h 6858001"/>
              <a:gd name="connsiteX218" fmla="*/ 3408736 w 8009775"/>
              <a:gd name="connsiteY218" fmla="*/ 1524635 h 6858001"/>
              <a:gd name="connsiteX219" fmla="*/ 3406371 w 8009775"/>
              <a:gd name="connsiteY219" fmla="*/ 1518920 h 6858001"/>
              <a:gd name="connsiteX220" fmla="*/ 3404598 w 8009775"/>
              <a:gd name="connsiteY220" fmla="*/ 1513205 h 6858001"/>
              <a:gd name="connsiteX221" fmla="*/ 3403120 w 8009775"/>
              <a:gd name="connsiteY221" fmla="*/ 1507174 h 6858001"/>
              <a:gd name="connsiteX222" fmla="*/ 3401938 w 8009775"/>
              <a:gd name="connsiteY222" fmla="*/ 1501459 h 6858001"/>
              <a:gd name="connsiteX223" fmla="*/ 3401051 w 8009775"/>
              <a:gd name="connsiteY223" fmla="*/ 1495744 h 6858001"/>
              <a:gd name="connsiteX224" fmla="*/ 3400460 w 8009775"/>
              <a:gd name="connsiteY224" fmla="*/ 1489710 h 6858001"/>
              <a:gd name="connsiteX225" fmla="*/ 3399869 w 8009775"/>
              <a:gd name="connsiteY225" fmla="*/ 1483995 h 6858001"/>
              <a:gd name="connsiteX226" fmla="*/ 3399573 w 8009775"/>
              <a:gd name="connsiteY226" fmla="*/ 1478281 h 6858001"/>
              <a:gd name="connsiteX227" fmla="*/ 3399869 w 8009775"/>
              <a:gd name="connsiteY227" fmla="*/ 1472249 h 6858001"/>
              <a:gd name="connsiteX228" fmla="*/ 3400460 w 8009775"/>
              <a:gd name="connsiteY228" fmla="*/ 1466215 h 6858001"/>
              <a:gd name="connsiteX229" fmla="*/ 3401051 w 8009775"/>
              <a:gd name="connsiteY229" fmla="*/ 1460183 h 6858001"/>
              <a:gd name="connsiteX230" fmla="*/ 3401938 w 8009775"/>
              <a:gd name="connsiteY230" fmla="*/ 1454468 h 6858001"/>
              <a:gd name="connsiteX231" fmla="*/ 3403120 w 8009775"/>
              <a:gd name="connsiteY231" fmla="*/ 1448754 h 6858001"/>
              <a:gd name="connsiteX232" fmla="*/ 3404598 w 8009775"/>
              <a:gd name="connsiteY232" fmla="*/ 1443039 h 6858001"/>
              <a:gd name="connsiteX233" fmla="*/ 3406371 w 8009775"/>
              <a:gd name="connsiteY233" fmla="*/ 1437324 h 6858001"/>
              <a:gd name="connsiteX234" fmla="*/ 3408736 w 8009775"/>
              <a:gd name="connsiteY234" fmla="*/ 1431609 h 6858001"/>
              <a:gd name="connsiteX235" fmla="*/ 3411100 w 8009775"/>
              <a:gd name="connsiteY235" fmla="*/ 1426211 h 6858001"/>
              <a:gd name="connsiteX236" fmla="*/ 3413760 w 8009775"/>
              <a:gd name="connsiteY236" fmla="*/ 1420814 h 6858001"/>
              <a:gd name="connsiteX237" fmla="*/ 3417012 w 8009775"/>
              <a:gd name="connsiteY237" fmla="*/ 1415416 h 6858001"/>
              <a:gd name="connsiteX238" fmla="*/ 3420262 w 8009775"/>
              <a:gd name="connsiteY238" fmla="*/ 1410336 h 6858001"/>
              <a:gd name="connsiteX239" fmla="*/ 3423218 w 8009775"/>
              <a:gd name="connsiteY239" fmla="*/ 1405256 h 6858001"/>
              <a:gd name="connsiteX240" fmla="*/ 3427356 w 8009775"/>
              <a:gd name="connsiteY240" fmla="*/ 1400175 h 6858001"/>
              <a:gd name="connsiteX241" fmla="*/ 3431198 w 8009775"/>
              <a:gd name="connsiteY241" fmla="*/ 1395731 h 6858001"/>
              <a:gd name="connsiteX242" fmla="*/ 3435928 w 8009775"/>
              <a:gd name="connsiteY242" fmla="*/ 1390969 h 6858001"/>
              <a:gd name="connsiteX243" fmla="*/ 3440361 w 8009775"/>
              <a:gd name="connsiteY243" fmla="*/ 1386524 h 6858001"/>
              <a:gd name="connsiteX244" fmla="*/ 3445386 w 8009775"/>
              <a:gd name="connsiteY244" fmla="*/ 1382396 h 6858001"/>
              <a:gd name="connsiteX245" fmla="*/ 3449819 w 8009775"/>
              <a:gd name="connsiteY245" fmla="*/ 1378585 h 6858001"/>
              <a:gd name="connsiteX246" fmla="*/ 3454844 w 8009775"/>
              <a:gd name="connsiteY246" fmla="*/ 1375094 h 6858001"/>
              <a:gd name="connsiteX247" fmla="*/ 3460459 w 8009775"/>
              <a:gd name="connsiteY247" fmla="*/ 1371919 h 6858001"/>
              <a:gd name="connsiteX248" fmla="*/ 3465780 w 8009775"/>
              <a:gd name="connsiteY248" fmla="*/ 1369061 h 6858001"/>
              <a:gd name="connsiteX249" fmla="*/ 3471100 w 8009775"/>
              <a:gd name="connsiteY249" fmla="*/ 1366204 h 6858001"/>
              <a:gd name="connsiteX250" fmla="*/ 3476420 w 8009775"/>
              <a:gd name="connsiteY250" fmla="*/ 1363980 h 6858001"/>
              <a:gd name="connsiteX251" fmla="*/ 3482331 w 8009775"/>
              <a:gd name="connsiteY251" fmla="*/ 1361759 h 6858001"/>
              <a:gd name="connsiteX252" fmla="*/ 3487947 w 8009775"/>
              <a:gd name="connsiteY252" fmla="*/ 1360170 h 6858001"/>
              <a:gd name="connsiteX253" fmla="*/ 3493858 w 8009775"/>
              <a:gd name="connsiteY253" fmla="*/ 1358265 h 6858001"/>
              <a:gd name="connsiteX254" fmla="*/ 3499474 w 8009775"/>
              <a:gd name="connsiteY254" fmla="*/ 1357314 h 6858001"/>
              <a:gd name="connsiteX255" fmla="*/ 3505385 w 8009775"/>
              <a:gd name="connsiteY255" fmla="*/ 1356043 h 6858001"/>
              <a:gd name="connsiteX256" fmla="*/ 3511001 w 8009775"/>
              <a:gd name="connsiteY256" fmla="*/ 1355409 h 6858001"/>
              <a:gd name="connsiteX257" fmla="*/ 3517208 w 8009775"/>
              <a:gd name="connsiteY257" fmla="*/ 1355090 h 6858001"/>
              <a:gd name="connsiteX258" fmla="*/ 3522823 w 8009775"/>
              <a:gd name="connsiteY258" fmla="*/ 1354773 h 6858001"/>
              <a:gd name="connsiteX259" fmla="*/ 3529030 w 8009775"/>
              <a:gd name="connsiteY259" fmla="*/ 1355090 h 6858001"/>
              <a:gd name="connsiteX260" fmla="*/ 3534646 w 8009775"/>
              <a:gd name="connsiteY260" fmla="*/ 1355409 h 6858001"/>
              <a:gd name="connsiteX261" fmla="*/ 3540557 w 8009775"/>
              <a:gd name="connsiteY261" fmla="*/ 1356043 h 6858001"/>
              <a:gd name="connsiteX262" fmla="*/ 3546468 w 8009775"/>
              <a:gd name="connsiteY262" fmla="*/ 1357314 h 6858001"/>
              <a:gd name="connsiteX263" fmla="*/ 3552380 w 8009775"/>
              <a:gd name="connsiteY263" fmla="*/ 1358265 h 6858001"/>
              <a:gd name="connsiteX264" fmla="*/ 3557995 w 8009775"/>
              <a:gd name="connsiteY264" fmla="*/ 1360170 h 6858001"/>
              <a:gd name="connsiteX265" fmla="*/ 3563906 w 8009775"/>
              <a:gd name="connsiteY265" fmla="*/ 1361759 h 6858001"/>
              <a:gd name="connsiteX266" fmla="*/ 3569227 w 8009775"/>
              <a:gd name="connsiteY266" fmla="*/ 1363980 h 6858001"/>
              <a:gd name="connsiteX267" fmla="*/ 3574842 w 8009775"/>
              <a:gd name="connsiteY267" fmla="*/ 1366204 h 6858001"/>
              <a:gd name="connsiteX268" fmla="*/ 3580458 w 8009775"/>
              <a:gd name="connsiteY268" fmla="*/ 1369061 h 6858001"/>
              <a:gd name="connsiteX269" fmla="*/ 3585778 w 8009775"/>
              <a:gd name="connsiteY269" fmla="*/ 1371919 h 6858001"/>
              <a:gd name="connsiteX270" fmla="*/ 3590803 w 8009775"/>
              <a:gd name="connsiteY270" fmla="*/ 1375094 h 6858001"/>
              <a:gd name="connsiteX271" fmla="*/ 3595828 w 8009775"/>
              <a:gd name="connsiteY271" fmla="*/ 1378585 h 6858001"/>
              <a:gd name="connsiteX272" fmla="*/ 3600852 w 8009775"/>
              <a:gd name="connsiteY272" fmla="*/ 1382396 h 6858001"/>
              <a:gd name="connsiteX273" fmla="*/ 3605581 w 8009775"/>
              <a:gd name="connsiteY273" fmla="*/ 1386524 h 6858001"/>
              <a:gd name="connsiteX274" fmla="*/ 3610014 w 8009775"/>
              <a:gd name="connsiteY274" fmla="*/ 1390969 h 6858001"/>
              <a:gd name="connsiteX275" fmla="*/ 3817500 w 8009775"/>
              <a:gd name="connsiteY275" fmla="*/ 1598296 h 6858001"/>
              <a:gd name="connsiteX276" fmla="*/ 3821934 w 8009775"/>
              <a:gd name="connsiteY276" fmla="*/ 1602423 h 6858001"/>
              <a:gd name="connsiteX277" fmla="*/ 3826663 w 8009775"/>
              <a:gd name="connsiteY277" fmla="*/ 1606869 h 6858001"/>
              <a:gd name="connsiteX278" fmla="*/ 3831687 w 8009775"/>
              <a:gd name="connsiteY278" fmla="*/ 1610361 h 6858001"/>
              <a:gd name="connsiteX279" fmla="*/ 3836712 w 8009775"/>
              <a:gd name="connsiteY279" fmla="*/ 1613854 h 6858001"/>
              <a:gd name="connsiteX280" fmla="*/ 3841736 w 8009775"/>
              <a:gd name="connsiteY280" fmla="*/ 1617345 h 6858001"/>
              <a:gd name="connsiteX281" fmla="*/ 3847352 w 8009775"/>
              <a:gd name="connsiteY281" fmla="*/ 1620204 h 6858001"/>
              <a:gd name="connsiteX282" fmla="*/ 3852672 w 8009775"/>
              <a:gd name="connsiteY282" fmla="*/ 1623061 h 6858001"/>
              <a:gd name="connsiteX283" fmla="*/ 3857992 w 8009775"/>
              <a:gd name="connsiteY283" fmla="*/ 1625283 h 6858001"/>
              <a:gd name="connsiteX284" fmla="*/ 3863608 w 8009775"/>
              <a:gd name="connsiteY284" fmla="*/ 1627189 h 6858001"/>
              <a:gd name="connsiteX285" fmla="*/ 3869519 w 8009775"/>
              <a:gd name="connsiteY285" fmla="*/ 1629094 h 6858001"/>
              <a:gd name="connsiteX286" fmla="*/ 3875135 w 8009775"/>
              <a:gd name="connsiteY286" fmla="*/ 1630998 h 6858001"/>
              <a:gd name="connsiteX287" fmla="*/ 3881046 w 8009775"/>
              <a:gd name="connsiteY287" fmla="*/ 1631950 h 6858001"/>
              <a:gd name="connsiteX288" fmla="*/ 3886662 w 8009775"/>
              <a:gd name="connsiteY288" fmla="*/ 1632904 h 6858001"/>
              <a:gd name="connsiteX289" fmla="*/ 3892869 w 8009775"/>
              <a:gd name="connsiteY289" fmla="*/ 1633856 h 6858001"/>
              <a:gd name="connsiteX290" fmla="*/ 3898485 w 8009775"/>
              <a:gd name="connsiteY290" fmla="*/ 1634174 h 6858001"/>
              <a:gd name="connsiteX291" fmla="*/ 3904396 w 8009775"/>
              <a:gd name="connsiteY291" fmla="*/ 1634174 h 6858001"/>
              <a:gd name="connsiteX292" fmla="*/ 3910307 w 8009775"/>
              <a:gd name="connsiteY292" fmla="*/ 1634174 h 6858001"/>
              <a:gd name="connsiteX293" fmla="*/ 3916219 w 8009775"/>
              <a:gd name="connsiteY293" fmla="*/ 1633856 h 6858001"/>
              <a:gd name="connsiteX294" fmla="*/ 3922425 w 8009775"/>
              <a:gd name="connsiteY294" fmla="*/ 1632904 h 6858001"/>
              <a:gd name="connsiteX295" fmla="*/ 3928041 w 8009775"/>
              <a:gd name="connsiteY295" fmla="*/ 1631950 h 6858001"/>
              <a:gd name="connsiteX296" fmla="*/ 3933657 w 8009775"/>
              <a:gd name="connsiteY296" fmla="*/ 1630998 h 6858001"/>
              <a:gd name="connsiteX297" fmla="*/ 3939568 w 8009775"/>
              <a:gd name="connsiteY297" fmla="*/ 1629094 h 6858001"/>
              <a:gd name="connsiteX298" fmla="*/ 3945184 w 8009775"/>
              <a:gd name="connsiteY298" fmla="*/ 1627189 h 6858001"/>
              <a:gd name="connsiteX299" fmla="*/ 3950799 w 8009775"/>
              <a:gd name="connsiteY299" fmla="*/ 1625283 h 6858001"/>
              <a:gd name="connsiteX300" fmla="*/ 3956415 w 8009775"/>
              <a:gd name="connsiteY300" fmla="*/ 1623061 h 6858001"/>
              <a:gd name="connsiteX301" fmla="*/ 3961735 w 8009775"/>
              <a:gd name="connsiteY301" fmla="*/ 1620204 h 6858001"/>
              <a:gd name="connsiteX302" fmla="*/ 3967055 w 8009775"/>
              <a:gd name="connsiteY302" fmla="*/ 1617345 h 6858001"/>
              <a:gd name="connsiteX303" fmla="*/ 3972376 w 8009775"/>
              <a:gd name="connsiteY303" fmla="*/ 1613854 h 6858001"/>
              <a:gd name="connsiteX304" fmla="*/ 3977400 w 8009775"/>
              <a:gd name="connsiteY304" fmla="*/ 1610361 h 6858001"/>
              <a:gd name="connsiteX305" fmla="*/ 3982425 w 8009775"/>
              <a:gd name="connsiteY305" fmla="*/ 1606869 h 6858001"/>
              <a:gd name="connsiteX306" fmla="*/ 3986858 w 8009775"/>
              <a:gd name="connsiteY306" fmla="*/ 1602423 h 6858001"/>
              <a:gd name="connsiteX307" fmla="*/ 3991587 w 8009775"/>
              <a:gd name="connsiteY307" fmla="*/ 1598296 h 6858001"/>
              <a:gd name="connsiteX308" fmla="*/ 3996021 w 8009775"/>
              <a:gd name="connsiteY308" fmla="*/ 1593533 h 6858001"/>
              <a:gd name="connsiteX309" fmla="*/ 4000159 w 8009775"/>
              <a:gd name="connsiteY309" fmla="*/ 1588771 h 6858001"/>
              <a:gd name="connsiteX310" fmla="*/ 4003705 w 8009775"/>
              <a:gd name="connsiteY310" fmla="*/ 1583691 h 6858001"/>
              <a:gd name="connsiteX311" fmla="*/ 4007548 w 8009775"/>
              <a:gd name="connsiteY311" fmla="*/ 1578928 h 6858001"/>
              <a:gd name="connsiteX312" fmla="*/ 4010799 w 8009775"/>
              <a:gd name="connsiteY312" fmla="*/ 1573849 h 6858001"/>
              <a:gd name="connsiteX313" fmla="*/ 4013459 w 8009775"/>
              <a:gd name="connsiteY313" fmla="*/ 1568451 h 6858001"/>
              <a:gd name="connsiteX314" fmla="*/ 4016415 w 8009775"/>
              <a:gd name="connsiteY314" fmla="*/ 1563054 h 6858001"/>
              <a:gd name="connsiteX315" fmla="*/ 4018484 w 8009775"/>
              <a:gd name="connsiteY315" fmla="*/ 1557339 h 6858001"/>
              <a:gd name="connsiteX316" fmla="*/ 4020848 w 8009775"/>
              <a:gd name="connsiteY316" fmla="*/ 1551941 h 6858001"/>
              <a:gd name="connsiteX317" fmla="*/ 4022621 w 8009775"/>
              <a:gd name="connsiteY317" fmla="*/ 1546226 h 6858001"/>
              <a:gd name="connsiteX318" fmla="*/ 4024395 w 8009775"/>
              <a:gd name="connsiteY318" fmla="*/ 1540511 h 6858001"/>
              <a:gd name="connsiteX319" fmla="*/ 4025282 w 8009775"/>
              <a:gd name="connsiteY319" fmla="*/ 1534478 h 6858001"/>
              <a:gd name="connsiteX320" fmla="*/ 4026464 w 8009775"/>
              <a:gd name="connsiteY320" fmla="*/ 1528763 h 6858001"/>
              <a:gd name="connsiteX321" fmla="*/ 4027055 w 8009775"/>
              <a:gd name="connsiteY321" fmla="*/ 1522731 h 6858001"/>
              <a:gd name="connsiteX322" fmla="*/ 4027646 w 8009775"/>
              <a:gd name="connsiteY322" fmla="*/ 1517016 h 6858001"/>
              <a:gd name="connsiteX323" fmla="*/ 4027646 w 8009775"/>
              <a:gd name="connsiteY323" fmla="*/ 1510984 h 6858001"/>
              <a:gd name="connsiteX324" fmla="*/ 4027646 w 8009775"/>
              <a:gd name="connsiteY324" fmla="*/ 1505268 h 6858001"/>
              <a:gd name="connsiteX325" fmla="*/ 4027055 w 8009775"/>
              <a:gd name="connsiteY325" fmla="*/ 1499553 h 6858001"/>
              <a:gd name="connsiteX326" fmla="*/ 4026464 w 8009775"/>
              <a:gd name="connsiteY326" fmla="*/ 1493204 h 6858001"/>
              <a:gd name="connsiteX327" fmla="*/ 4025282 w 8009775"/>
              <a:gd name="connsiteY327" fmla="*/ 1487489 h 6858001"/>
              <a:gd name="connsiteX328" fmla="*/ 4024395 w 8009775"/>
              <a:gd name="connsiteY328" fmla="*/ 1481773 h 6858001"/>
              <a:gd name="connsiteX329" fmla="*/ 4022621 w 8009775"/>
              <a:gd name="connsiteY329" fmla="*/ 1476058 h 6858001"/>
              <a:gd name="connsiteX330" fmla="*/ 4020848 w 8009775"/>
              <a:gd name="connsiteY330" fmla="*/ 1470343 h 6858001"/>
              <a:gd name="connsiteX331" fmla="*/ 4018484 w 8009775"/>
              <a:gd name="connsiteY331" fmla="*/ 1464629 h 6858001"/>
              <a:gd name="connsiteX332" fmla="*/ 4016415 w 8009775"/>
              <a:gd name="connsiteY332" fmla="*/ 1459231 h 6858001"/>
              <a:gd name="connsiteX333" fmla="*/ 4013459 w 8009775"/>
              <a:gd name="connsiteY333" fmla="*/ 1453834 h 6858001"/>
              <a:gd name="connsiteX334" fmla="*/ 4010799 w 8009775"/>
              <a:gd name="connsiteY334" fmla="*/ 1448436 h 6858001"/>
              <a:gd name="connsiteX335" fmla="*/ 4007548 w 8009775"/>
              <a:gd name="connsiteY335" fmla="*/ 1443356 h 6858001"/>
              <a:gd name="connsiteX336" fmla="*/ 4003705 w 8009775"/>
              <a:gd name="connsiteY336" fmla="*/ 1438275 h 6858001"/>
              <a:gd name="connsiteX337" fmla="*/ 4000159 w 8009775"/>
              <a:gd name="connsiteY337" fmla="*/ 1433195 h 6858001"/>
              <a:gd name="connsiteX338" fmla="*/ 3996021 w 8009775"/>
              <a:gd name="connsiteY338" fmla="*/ 1428751 h 6858001"/>
              <a:gd name="connsiteX339" fmla="*/ 3991587 w 8009775"/>
              <a:gd name="connsiteY339" fmla="*/ 1423988 h 6858001"/>
              <a:gd name="connsiteX340" fmla="*/ 3323022 w 8009775"/>
              <a:gd name="connsiteY340" fmla="*/ 755333 h 6858001"/>
              <a:gd name="connsiteX341" fmla="*/ 3316815 w 8009775"/>
              <a:gd name="connsiteY341" fmla="*/ 748348 h 6858001"/>
              <a:gd name="connsiteX342" fmla="*/ 3310904 w 8009775"/>
              <a:gd name="connsiteY342" fmla="*/ 741045 h 6858001"/>
              <a:gd name="connsiteX343" fmla="*/ 3305584 w 8009775"/>
              <a:gd name="connsiteY343" fmla="*/ 733108 h 6858001"/>
              <a:gd name="connsiteX344" fmla="*/ 3300855 w 8009775"/>
              <a:gd name="connsiteY344" fmla="*/ 725170 h 6858001"/>
              <a:gd name="connsiteX345" fmla="*/ 3297308 w 8009775"/>
              <a:gd name="connsiteY345" fmla="*/ 716915 h 6858001"/>
              <a:gd name="connsiteX346" fmla="*/ 3293761 w 8009775"/>
              <a:gd name="connsiteY346" fmla="*/ 708660 h 6858001"/>
              <a:gd name="connsiteX347" fmla="*/ 3291101 w 8009775"/>
              <a:gd name="connsiteY347" fmla="*/ 699770 h 6858001"/>
              <a:gd name="connsiteX348" fmla="*/ 3289328 w 8009775"/>
              <a:gd name="connsiteY348" fmla="*/ 691198 h 6858001"/>
              <a:gd name="connsiteX349" fmla="*/ 2596527 w 8009775"/>
              <a:gd name="connsiteY349" fmla="*/ 0 h 6858001"/>
              <a:gd name="connsiteX0" fmla="*/ 2596527 w 8009775"/>
              <a:gd name="connsiteY0" fmla="*/ 0 h 6858001"/>
              <a:gd name="connsiteX1" fmla="*/ 2165004 w 8009775"/>
              <a:gd name="connsiteY1" fmla="*/ 0 h 6858001"/>
              <a:gd name="connsiteX2" fmla="*/ 3265978 w 8009775"/>
              <a:gd name="connsiteY2" fmla="*/ 1101091 h 6858001"/>
              <a:gd name="connsiteX3" fmla="*/ 3270708 w 8009775"/>
              <a:gd name="connsiteY3" fmla="*/ 1105854 h 6858001"/>
              <a:gd name="connsiteX4" fmla="*/ 3274550 w 8009775"/>
              <a:gd name="connsiteY4" fmla="*/ 1110615 h 6858001"/>
              <a:gd name="connsiteX5" fmla="*/ 3278688 w 8009775"/>
              <a:gd name="connsiteY5" fmla="*/ 1115696 h 6858001"/>
              <a:gd name="connsiteX6" fmla="*/ 3282234 w 8009775"/>
              <a:gd name="connsiteY6" fmla="*/ 1120776 h 6858001"/>
              <a:gd name="connsiteX7" fmla="*/ 3285486 w 8009775"/>
              <a:gd name="connsiteY7" fmla="*/ 1126174 h 6858001"/>
              <a:gd name="connsiteX8" fmla="*/ 3288146 w 8009775"/>
              <a:gd name="connsiteY8" fmla="*/ 1131570 h 6858001"/>
              <a:gd name="connsiteX9" fmla="*/ 3291101 w 8009775"/>
              <a:gd name="connsiteY9" fmla="*/ 1136968 h 6858001"/>
              <a:gd name="connsiteX10" fmla="*/ 3293761 w 8009775"/>
              <a:gd name="connsiteY10" fmla="*/ 1142366 h 6858001"/>
              <a:gd name="connsiteX11" fmla="*/ 3295830 w 8009775"/>
              <a:gd name="connsiteY11" fmla="*/ 1148081 h 6858001"/>
              <a:gd name="connsiteX12" fmla="*/ 3297604 w 8009775"/>
              <a:gd name="connsiteY12" fmla="*/ 1153796 h 6858001"/>
              <a:gd name="connsiteX13" fmla="*/ 3299082 w 8009775"/>
              <a:gd name="connsiteY13" fmla="*/ 1159829 h 6858001"/>
              <a:gd name="connsiteX14" fmla="*/ 3300559 w 8009775"/>
              <a:gd name="connsiteY14" fmla="*/ 1165544 h 6858001"/>
              <a:gd name="connsiteX15" fmla="*/ 3301446 w 8009775"/>
              <a:gd name="connsiteY15" fmla="*/ 1171893 h 6858001"/>
              <a:gd name="connsiteX16" fmla="*/ 3302333 w 8009775"/>
              <a:gd name="connsiteY16" fmla="*/ 1177608 h 6858001"/>
              <a:gd name="connsiteX17" fmla="*/ 3302628 w 8009775"/>
              <a:gd name="connsiteY17" fmla="*/ 1183641 h 6858001"/>
              <a:gd name="connsiteX18" fmla="*/ 3302628 w 8009775"/>
              <a:gd name="connsiteY18" fmla="*/ 1189356 h 6858001"/>
              <a:gd name="connsiteX19" fmla="*/ 3302628 w 8009775"/>
              <a:gd name="connsiteY19" fmla="*/ 1195388 h 6858001"/>
              <a:gd name="connsiteX20" fmla="*/ 3302333 w 8009775"/>
              <a:gd name="connsiteY20" fmla="*/ 1201739 h 6858001"/>
              <a:gd name="connsiteX21" fmla="*/ 3301446 w 8009775"/>
              <a:gd name="connsiteY21" fmla="*/ 1207454 h 6858001"/>
              <a:gd name="connsiteX22" fmla="*/ 3300559 w 8009775"/>
              <a:gd name="connsiteY22" fmla="*/ 1213486 h 6858001"/>
              <a:gd name="connsiteX23" fmla="*/ 3299082 w 8009775"/>
              <a:gd name="connsiteY23" fmla="*/ 1219200 h 6858001"/>
              <a:gd name="connsiteX24" fmla="*/ 3297604 w 8009775"/>
              <a:gd name="connsiteY24" fmla="*/ 1225233 h 6858001"/>
              <a:gd name="connsiteX25" fmla="*/ 3295830 w 8009775"/>
              <a:gd name="connsiteY25" fmla="*/ 1230949 h 6858001"/>
              <a:gd name="connsiteX26" fmla="*/ 3293761 w 8009775"/>
              <a:gd name="connsiteY26" fmla="*/ 1236346 h 6858001"/>
              <a:gd name="connsiteX27" fmla="*/ 3291101 w 8009775"/>
              <a:gd name="connsiteY27" fmla="*/ 1242061 h 6858001"/>
              <a:gd name="connsiteX28" fmla="*/ 3288146 w 8009775"/>
              <a:gd name="connsiteY28" fmla="*/ 1247459 h 6858001"/>
              <a:gd name="connsiteX29" fmla="*/ 3285486 w 8009775"/>
              <a:gd name="connsiteY29" fmla="*/ 1252855 h 6858001"/>
              <a:gd name="connsiteX30" fmla="*/ 3282234 w 8009775"/>
              <a:gd name="connsiteY30" fmla="*/ 1258254 h 6858001"/>
              <a:gd name="connsiteX31" fmla="*/ 3278688 w 8009775"/>
              <a:gd name="connsiteY31" fmla="*/ 1263333 h 6858001"/>
              <a:gd name="connsiteX32" fmla="*/ 3274550 w 8009775"/>
              <a:gd name="connsiteY32" fmla="*/ 1268413 h 6858001"/>
              <a:gd name="connsiteX33" fmla="*/ 3270708 w 8009775"/>
              <a:gd name="connsiteY33" fmla="*/ 1273494 h 6858001"/>
              <a:gd name="connsiteX34" fmla="*/ 3265978 w 8009775"/>
              <a:gd name="connsiteY34" fmla="*/ 1278255 h 6858001"/>
              <a:gd name="connsiteX35" fmla="*/ 3261249 w 8009775"/>
              <a:gd name="connsiteY35" fmla="*/ 1282384 h 6858001"/>
              <a:gd name="connsiteX36" fmla="*/ 3256816 w 8009775"/>
              <a:gd name="connsiteY36" fmla="*/ 1286510 h 6858001"/>
              <a:gd name="connsiteX37" fmla="*/ 3251791 w 8009775"/>
              <a:gd name="connsiteY37" fmla="*/ 1290321 h 6858001"/>
              <a:gd name="connsiteX38" fmla="*/ 3246767 w 8009775"/>
              <a:gd name="connsiteY38" fmla="*/ 1293814 h 6858001"/>
              <a:gd name="connsiteX39" fmla="*/ 3241151 w 8009775"/>
              <a:gd name="connsiteY39" fmla="*/ 1297306 h 6858001"/>
              <a:gd name="connsiteX40" fmla="*/ 3235831 w 8009775"/>
              <a:gd name="connsiteY40" fmla="*/ 1300481 h 6858001"/>
              <a:gd name="connsiteX41" fmla="*/ 3230511 w 8009775"/>
              <a:gd name="connsiteY41" fmla="*/ 1303021 h 6858001"/>
              <a:gd name="connsiteX42" fmla="*/ 3224600 w 8009775"/>
              <a:gd name="connsiteY42" fmla="*/ 1305560 h 6858001"/>
              <a:gd name="connsiteX43" fmla="*/ 3218984 w 8009775"/>
              <a:gd name="connsiteY43" fmla="*/ 1307465 h 6858001"/>
              <a:gd name="connsiteX44" fmla="*/ 3213072 w 8009775"/>
              <a:gd name="connsiteY44" fmla="*/ 1309371 h 6858001"/>
              <a:gd name="connsiteX45" fmla="*/ 3207457 w 8009775"/>
              <a:gd name="connsiteY45" fmla="*/ 1311275 h 6858001"/>
              <a:gd name="connsiteX46" fmla="*/ 3201841 w 8009775"/>
              <a:gd name="connsiteY46" fmla="*/ 1312228 h 6858001"/>
              <a:gd name="connsiteX47" fmla="*/ 3195634 w 8009775"/>
              <a:gd name="connsiteY47" fmla="*/ 1313180 h 6858001"/>
              <a:gd name="connsiteX48" fmla="*/ 3189428 w 8009775"/>
              <a:gd name="connsiteY48" fmla="*/ 1314133 h 6858001"/>
              <a:gd name="connsiteX49" fmla="*/ 3183812 w 8009775"/>
              <a:gd name="connsiteY49" fmla="*/ 1314450 h 6858001"/>
              <a:gd name="connsiteX50" fmla="*/ 3177605 w 8009775"/>
              <a:gd name="connsiteY50" fmla="*/ 1314769 h 6858001"/>
              <a:gd name="connsiteX51" fmla="*/ 3171694 w 8009775"/>
              <a:gd name="connsiteY51" fmla="*/ 1314450 h 6858001"/>
              <a:gd name="connsiteX52" fmla="*/ 3165782 w 8009775"/>
              <a:gd name="connsiteY52" fmla="*/ 1314133 h 6858001"/>
              <a:gd name="connsiteX53" fmla="*/ 3159576 w 8009775"/>
              <a:gd name="connsiteY53" fmla="*/ 1313180 h 6858001"/>
              <a:gd name="connsiteX54" fmla="*/ 3153960 w 8009775"/>
              <a:gd name="connsiteY54" fmla="*/ 1312228 h 6858001"/>
              <a:gd name="connsiteX55" fmla="*/ 3147753 w 8009775"/>
              <a:gd name="connsiteY55" fmla="*/ 1311275 h 6858001"/>
              <a:gd name="connsiteX56" fmla="*/ 3142137 w 8009775"/>
              <a:gd name="connsiteY56" fmla="*/ 1309371 h 6858001"/>
              <a:gd name="connsiteX57" fmla="*/ 3136226 w 8009775"/>
              <a:gd name="connsiteY57" fmla="*/ 1307465 h 6858001"/>
              <a:gd name="connsiteX58" fmla="*/ 3130610 w 8009775"/>
              <a:gd name="connsiteY58" fmla="*/ 1305560 h 6858001"/>
              <a:gd name="connsiteX59" fmla="*/ 3124994 w 8009775"/>
              <a:gd name="connsiteY59" fmla="*/ 1303021 h 6858001"/>
              <a:gd name="connsiteX60" fmla="*/ 3119379 w 8009775"/>
              <a:gd name="connsiteY60" fmla="*/ 1300481 h 6858001"/>
              <a:gd name="connsiteX61" fmla="*/ 3114059 w 8009775"/>
              <a:gd name="connsiteY61" fmla="*/ 1297306 h 6858001"/>
              <a:gd name="connsiteX62" fmla="*/ 3109034 w 8009775"/>
              <a:gd name="connsiteY62" fmla="*/ 1293814 h 6858001"/>
              <a:gd name="connsiteX63" fmla="*/ 3103714 w 8009775"/>
              <a:gd name="connsiteY63" fmla="*/ 1290321 h 6858001"/>
              <a:gd name="connsiteX64" fmla="*/ 3098689 w 8009775"/>
              <a:gd name="connsiteY64" fmla="*/ 1286510 h 6858001"/>
              <a:gd name="connsiteX65" fmla="*/ 3093960 w 8009775"/>
              <a:gd name="connsiteY65" fmla="*/ 1282384 h 6858001"/>
              <a:gd name="connsiteX66" fmla="*/ 3089231 w 8009775"/>
              <a:gd name="connsiteY66" fmla="*/ 1278255 h 6858001"/>
              <a:gd name="connsiteX67" fmla="*/ 1811214 w 8009775"/>
              <a:gd name="connsiteY67" fmla="*/ 0 h 6858001"/>
              <a:gd name="connsiteX68" fmla="*/ 55488 w 8009775"/>
              <a:gd name="connsiteY68" fmla="*/ 0 h 6858001"/>
              <a:gd name="connsiteX69" fmla="*/ 0 w 8009775"/>
              <a:gd name="connsiteY69" fmla="*/ 0 h 6858001"/>
              <a:gd name="connsiteX70" fmla="*/ 0 w 8009775"/>
              <a:gd name="connsiteY70" fmla="*/ 6858000 h 6858001"/>
              <a:gd name="connsiteX71" fmla="*/ 7507651 w 8009775"/>
              <a:gd name="connsiteY71" fmla="*/ 6858001 h 6858001"/>
              <a:gd name="connsiteX72" fmla="*/ 8009775 w 8009775"/>
              <a:gd name="connsiteY72" fmla="*/ 6858000 h 6858001"/>
              <a:gd name="connsiteX73" fmla="*/ 3996316 w 8009775"/>
              <a:gd name="connsiteY73" fmla="*/ 2818448 h 6858001"/>
              <a:gd name="connsiteX74" fmla="*/ 3980947 w 8009775"/>
              <a:gd name="connsiteY74" fmla="*/ 2804795 h 6858001"/>
              <a:gd name="connsiteX75" fmla="*/ 3965282 w 8009775"/>
              <a:gd name="connsiteY75" fmla="*/ 2791144 h 6858001"/>
              <a:gd name="connsiteX76" fmla="*/ 3950799 w 8009775"/>
              <a:gd name="connsiteY76" fmla="*/ 2776856 h 6858001"/>
              <a:gd name="connsiteX77" fmla="*/ 3936021 w 8009775"/>
              <a:gd name="connsiteY77" fmla="*/ 2762568 h 6858001"/>
              <a:gd name="connsiteX78" fmla="*/ 3001744 w 8009775"/>
              <a:gd name="connsiteY78" fmla="*/ 1828166 h 6858001"/>
              <a:gd name="connsiteX79" fmla="*/ 2997311 w 8009775"/>
              <a:gd name="connsiteY79" fmla="*/ 1823404 h 6858001"/>
              <a:gd name="connsiteX80" fmla="*/ 2992878 w 8009775"/>
              <a:gd name="connsiteY80" fmla="*/ 1818640 h 6858001"/>
              <a:gd name="connsiteX81" fmla="*/ 2989331 w 8009775"/>
              <a:gd name="connsiteY81" fmla="*/ 1814195 h 6858001"/>
              <a:gd name="connsiteX82" fmla="*/ 2985784 w 8009775"/>
              <a:gd name="connsiteY82" fmla="*/ 1808799 h 6858001"/>
              <a:gd name="connsiteX83" fmla="*/ 2982533 w 8009775"/>
              <a:gd name="connsiteY83" fmla="*/ 1803718 h 6858001"/>
              <a:gd name="connsiteX84" fmla="*/ 2979873 w 8009775"/>
              <a:gd name="connsiteY84" fmla="*/ 1798321 h 6858001"/>
              <a:gd name="connsiteX85" fmla="*/ 2976917 w 8009775"/>
              <a:gd name="connsiteY85" fmla="*/ 1792924 h 6858001"/>
              <a:gd name="connsiteX86" fmla="*/ 2974552 w 8009775"/>
              <a:gd name="connsiteY86" fmla="*/ 1787526 h 6858001"/>
              <a:gd name="connsiteX87" fmla="*/ 2972484 w 8009775"/>
              <a:gd name="connsiteY87" fmla="*/ 1781811 h 6858001"/>
              <a:gd name="connsiteX88" fmla="*/ 2970710 w 8009775"/>
              <a:gd name="connsiteY88" fmla="*/ 1776095 h 6858001"/>
              <a:gd name="connsiteX89" fmla="*/ 2968937 w 8009775"/>
              <a:gd name="connsiteY89" fmla="*/ 1770380 h 6858001"/>
              <a:gd name="connsiteX90" fmla="*/ 2967755 w 8009775"/>
              <a:gd name="connsiteY90" fmla="*/ 1764665 h 6858001"/>
              <a:gd name="connsiteX91" fmla="*/ 2966868 w 8009775"/>
              <a:gd name="connsiteY91" fmla="*/ 1758634 h 6858001"/>
              <a:gd name="connsiteX92" fmla="*/ 2965981 w 8009775"/>
              <a:gd name="connsiteY92" fmla="*/ 1752919 h 6858001"/>
              <a:gd name="connsiteX93" fmla="*/ 2965686 w 8009775"/>
              <a:gd name="connsiteY93" fmla="*/ 1746885 h 6858001"/>
              <a:gd name="connsiteX94" fmla="*/ 2965686 w 8009775"/>
              <a:gd name="connsiteY94" fmla="*/ 1741170 h 6858001"/>
              <a:gd name="connsiteX95" fmla="*/ 2965686 w 8009775"/>
              <a:gd name="connsiteY95" fmla="*/ 1735139 h 6858001"/>
              <a:gd name="connsiteX96" fmla="*/ 2965981 w 8009775"/>
              <a:gd name="connsiteY96" fmla="*/ 1729424 h 6858001"/>
              <a:gd name="connsiteX97" fmla="*/ 2966868 w 8009775"/>
              <a:gd name="connsiteY97" fmla="*/ 1723074 h 6858001"/>
              <a:gd name="connsiteX98" fmla="*/ 2967755 w 8009775"/>
              <a:gd name="connsiteY98" fmla="*/ 1717358 h 6858001"/>
              <a:gd name="connsiteX99" fmla="*/ 2968937 w 8009775"/>
              <a:gd name="connsiteY99" fmla="*/ 1711643 h 6858001"/>
              <a:gd name="connsiteX100" fmla="*/ 2970710 w 8009775"/>
              <a:gd name="connsiteY100" fmla="*/ 1705929 h 6858001"/>
              <a:gd name="connsiteX101" fmla="*/ 2972484 w 8009775"/>
              <a:gd name="connsiteY101" fmla="*/ 1700214 h 6858001"/>
              <a:gd name="connsiteX102" fmla="*/ 2974552 w 8009775"/>
              <a:gd name="connsiteY102" fmla="*/ 1694816 h 6858001"/>
              <a:gd name="connsiteX103" fmla="*/ 2976917 w 8009775"/>
              <a:gd name="connsiteY103" fmla="*/ 1689101 h 6858001"/>
              <a:gd name="connsiteX104" fmla="*/ 2979873 w 8009775"/>
              <a:gd name="connsiteY104" fmla="*/ 1683703 h 6858001"/>
              <a:gd name="connsiteX105" fmla="*/ 2982533 w 8009775"/>
              <a:gd name="connsiteY105" fmla="*/ 1678305 h 6858001"/>
              <a:gd name="connsiteX106" fmla="*/ 2985784 w 8009775"/>
              <a:gd name="connsiteY106" fmla="*/ 1673226 h 6858001"/>
              <a:gd name="connsiteX107" fmla="*/ 2989331 w 8009775"/>
              <a:gd name="connsiteY107" fmla="*/ 1668145 h 6858001"/>
              <a:gd name="connsiteX108" fmla="*/ 2992878 w 8009775"/>
              <a:gd name="connsiteY108" fmla="*/ 1663066 h 6858001"/>
              <a:gd name="connsiteX109" fmla="*/ 2997311 w 8009775"/>
              <a:gd name="connsiteY109" fmla="*/ 1658621 h 6858001"/>
              <a:gd name="connsiteX110" fmla="*/ 3001744 w 8009775"/>
              <a:gd name="connsiteY110" fmla="*/ 1653859 h 6858001"/>
              <a:gd name="connsiteX111" fmla="*/ 3006178 w 8009775"/>
              <a:gd name="connsiteY111" fmla="*/ 1649414 h 6858001"/>
              <a:gd name="connsiteX112" fmla="*/ 3010907 w 8009775"/>
              <a:gd name="connsiteY112" fmla="*/ 1645603 h 6858001"/>
              <a:gd name="connsiteX113" fmla="*/ 3015932 w 8009775"/>
              <a:gd name="connsiteY113" fmla="*/ 1641794 h 6858001"/>
              <a:gd name="connsiteX114" fmla="*/ 3020956 w 8009775"/>
              <a:gd name="connsiteY114" fmla="*/ 1637984 h 6858001"/>
              <a:gd name="connsiteX115" fmla="*/ 3025981 w 8009775"/>
              <a:gd name="connsiteY115" fmla="*/ 1634809 h 6858001"/>
              <a:gd name="connsiteX116" fmla="*/ 3031596 w 8009775"/>
              <a:gd name="connsiteY116" fmla="*/ 1631950 h 6858001"/>
              <a:gd name="connsiteX117" fmla="*/ 3036916 w 8009775"/>
              <a:gd name="connsiteY117" fmla="*/ 1629094 h 6858001"/>
              <a:gd name="connsiteX118" fmla="*/ 3042532 w 8009775"/>
              <a:gd name="connsiteY118" fmla="*/ 1626871 h 6858001"/>
              <a:gd name="connsiteX119" fmla="*/ 3047852 w 8009775"/>
              <a:gd name="connsiteY119" fmla="*/ 1624649 h 6858001"/>
              <a:gd name="connsiteX120" fmla="*/ 3053764 w 8009775"/>
              <a:gd name="connsiteY120" fmla="*/ 1623061 h 6858001"/>
              <a:gd name="connsiteX121" fmla="*/ 3059379 w 8009775"/>
              <a:gd name="connsiteY121" fmla="*/ 1621155 h 6858001"/>
              <a:gd name="connsiteX122" fmla="*/ 3065291 w 8009775"/>
              <a:gd name="connsiteY122" fmla="*/ 1620204 h 6858001"/>
              <a:gd name="connsiteX123" fmla="*/ 3070906 w 8009775"/>
              <a:gd name="connsiteY123" fmla="*/ 1618934 h 6858001"/>
              <a:gd name="connsiteX124" fmla="*/ 3077113 w 8009775"/>
              <a:gd name="connsiteY124" fmla="*/ 1618299 h 6858001"/>
              <a:gd name="connsiteX125" fmla="*/ 3082729 w 8009775"/>
              <a:gd name="connsiteY125" fmla="*/ 1617981 h 6858001"/>
              <a:gd name="connsiteX126" fmla="*/ 3088936 w 8009775"/>
              <a:gd name="connsiteY126" fmla="*/ 1617981 h 6858001"/>
              <a:gd name="connsiteX127" fmla="*/ 3094552 w 8009775"/>
              <a:gd name="connsiteY127" fmla="*/ 1617981 h 6858001"/>
              <a:gd name="connsiteX128" fmla="*/ 3100758 w 8009775"/>
              <a:gd name="connsiteY128" fmla="*/ 1618299 h 6858001"/>
              <a:gd name="connsiteX129" fmla="*/ 3106670 w 8009775"/>
              <a:gd name="connsiteY129" fmla="*/ 1618934 h 6858001"/>
              <a:gd name="connsiteX130" fmla="*/ 3112285 w 8009775"/>
              <a:gd name="connsiteY130" fmla="*/ 1620204 h 6858001"/>
              <a:gd name="connsiteX131" fmla="*/ 3117901 w 8009775"/>
              <a:gd name="connsiteY131" fmla="*/ 1621155 h 6858001"/>
              <a:gd name="connsiteX132" fmla="*/ 3123812 w 8009775"/>
              <a:gd name="connsiteY132" fmla="*/ 1623061 h 6858001"/>
              <a:gd name="connsiteX133" fmla="*/ 3129428 w 8009775"/>
              <a:gd name="connsiteY133" fmla="*/ 1624649 h 6858001"/>
              <a:gd name="connsiteX134" fmla="*/ 3135339 w 8009775"/>
              <a:gd name="connsiteY134" fmla="*/ 1626871 h 6858001"/>
              <a:gd name="connsiteX135" fmla="*/ 3140660 w 8009775"/>
              <a:gd name="connsiteY135" fmla="*/ 1629094 h 6858001"/>
              <a:gd name="connsiteX136" fmla="*/ 3145980 w 8009775"/>
              <a:gd name="connsiteY136" fmla="*/ 1631950 h 6858001"/>
              <a:gd name="connsiteX137" fmla="*/ 3151300 w 8009775"/>
              <a:gd name="connsiteY137" fmla="*/ 1634809 h 6858001"/>
              <a:gd name="connsiteX138" fmla="*/ 3156324 w 8009775"/>
              <a:gd name="connsiteY138" fmla="*/ 1637984 h 6858001"/>
              <a:gd name="connsiteX139" fmla="*/ 3161349 w 8009775"/>
              <a:gd name="connsiteY139" fmla="*/ 1641794 h 6858001"/>
              <a:gd name="connsiteX140" fmla="*/ 3166374 w 8009775"/>
              <a:gd name="connsiteY140" fmla="*/ 1645603 h 6858001"/>
              <a:gd name="connsiteX141" fmla="*/ 3171102 w 8009775"/>
              <a:gd name="connsiteY141" fmla="*/ 1649414 h 6858001"/>
              <a:gd name="connsiteX142" fmla="*/ 3175832 w 8009775"/>
              <a:gd name="connsiteY142" fmla="*/ 1653859 h 6858001"/>
              <a:gd name="connsiteX143" fmla="*/ 3844692 w 8009775"/>
              <a:gd name="connsiteY143" fmla="*/ 2322830 h 6858001"/>
              <a:gd name="connsiteX144" fmla="*/ 3849421 w 8009775"/>
              <a:gd name="connsiteY144" fmla="*/ 2326958 h 6858001"/>
              <a:gd name="connsiteX145" fmla="*/ 3854150 w 8009775"/>
              <a:gd name="connsiteY145" fmla="*/ 2331085 h 6858001"/>
              <a:gd name="connsiteX146" fmla="*/ 3859175 w 8009775"/>
              <a:gd name="connsiteY146" fmla="*/ 2334895 h 6858001"/>
              <a:gd name="connsiteX147" fmla="*/ 3864199 w 8009775"/>
              <a:gd name="connsiteY147" fmla="*/ 2338705 h 6858001"/>
              <a:gd name="connsiteX148" fmla="*/ 3869224 w 8009775"/>
              <a:gd name="connsiteY148" fmla="*/ 2341880 h 6858001"/>
              <a:gd name="connsiteX149" fmla="*/ 3874544 w 8009775"/>
              <a:gd name="connsiteY149" fmla="*/ 2344738 h 6858001"/>
              <a:gd name="connsiteX150" fmla="*/ 3879864 w 8009775"/>
              <a:gd name="connsiteY150" fmla="*/ 2347595 h 6858001"/>
              <a:gd name="connsiteX151" fmla="*/ 3885775 w 8009775"/>
              <a:gd name="connsiteY151" fmla="*/ 2349818 h 6858001"/>
              <a:gd name="connsiteX152" fmla="*/ 3891096 w 8009775"/>
              <a:gd name="connsiteY152" fmla="*/ 2351723 h 6858001"/>
              <a:gd name="connsiteX153" fmla="*/ 3896711 w 8009775"/>
              <a:gd name="connsiteY153" fmla="*/ 2353628 h 6858001"/>
              <a:gd name="connsiteX154" fmla="*/ 3902623 w 8009775"/>
              <a:gd name="connsiteY154" fmla="*/ 2355534 h 6858001"/>
              <a:gd name="connsiteX155" fmla="*/ 3908238 w 8009775"/>
              <a:gd name="connsiteY155" fmla="*/ 2356485 h 6858001"/>
              <a:gd name="connsiteX156" fmla="*/ 3914150 w 8009775"/>
              <a:gd name="connsiteY156" fmla="*/ 2357755 h 6858001"/>
              <a:gd name="connsiteX157" fmla="*/ 3920061 w 8009775"/>
              <a:gd name="connsiteY157" fmla="*/ 2358391 h 6858001"/>
              <a:gd name="connsiteX158" fmla="*/ 3925972 w 8009775"/>
              <a:gd name="connsiteY158" fmla="*/ 2358708 h 6858001"/>
              <a:gd name="connsiteX159" fmla="*/ 3931883 w 8009775"/>
              <a:gd name="connsiteY159" fmla="*/ 2358708 h 6858001"/>
              <a:gd name="connsiteX160" fmla="*/ 3937795 w 8009775"/>
              <a:gd name="connsiteY160" fmla="*/ 2358708 h 6858001"/>
              <a:gd name="connsiteX161" fmla="*/ 3943706 w 8009775"/>
              <a:gd name="connsiteY161" fmla="*/ 2358391 h 6858001"/>
              <a:gd name="connsiteX162" fmla="*/ 3949617 w 8009775"/>
              <a:gd name="connsiteY162" fmla="*/ 2357755 h 6858001"/>
              <a:gd name="connsiteX163" fmla="*/ 3955233 w 8009775"/>
              <a:gd name="connsiteY163" fmla="*/ 2356485 h 6858001"/>
              <a:gd name="connsiteX164" fmla="*/ 3961144 w 8009775"/>
              <a:gd name="connsiteY164" fmla="*/ 2355534 h 6858001"/>
              <a:gd name="connsiteX165" fmla="*/ 3966760 w 8009775"/>
              <a:gd name="connsiteY165" fmla="*/ 2353628 h 6858001"/>
              <a:gd name="connsiteX166" fmla="*/ 3972671 w 8009775"/>
              <a:gd name="connsiteY166" fmla="*/ 2351723 h 6858001"/>
              <a:gd name="connsiteX167" fmla="*/ 3978287 w 8009775"/>
              <a:gd name="connsiteY167" fmla="*/ 2349818 h 6858001"/>
              <a:gd name="connsiteX168" fmla="*/ 3983607 w 8009775"/>
              <a:gd name="connsiteY168" fmla="*/ 2347595 h 6858001"/>
              <a:gd name="connsiteX169" fmla="*/ 3989223 w 8009775"/>
              <a:gd name="connsiteY169" fmla="*/ 2344738 h 6858001"/>
              <a:gd name="connsiteX170" fmla="*/ 3994543 w 8009775"/>
              <a:gd name="connsiteY170" fmla="*/ 2341880 h 6858001"/>
              <a:gd name="connsiteX171" fmla="*/ 3999567 w 8009775"/>
              <a:gd name="connsiteY171" fmla="*/ 2338705 h 6858001"/>
              <a:gd name="connsiteX172" fmla="*/ 4004888 w 8009775"/>
              <a:gd name="connsiteY172" fmla="*/ 2334895 h 6858001"/>
              <a:gd name="connsiteX173" fmla="*/ 4009617 w 8009775"/>
              <a:gd name="connsiteY173" fmla="*/ 2331085 h 6858001"/>
              <a:gd name="connsiteX174" fmla="*/ 4014346 w 8009775"/>
              <a:gd name="connsiteY174" fmla="*/ 2326958 h 6858001"/>
              <a:gd name="connsiteX175" fmla="*/ 4018779 w 8009775"/>
              <a:gd name="connsiteY175" fmla="*/ 2322830 h 6858001"/>
              <a:gd name="connsiteX176" fmla="*/ 4023213 w 8009775"/>
              <a:gd name="connsiteY176" fmla="*/ 2318068 h 6858001"/>
              <a:gd name="connsiteX177" fmla="*/ 4027646 w 8009775"/>
              <a:gd name="connsiteY177" fmla="*/ 2313306 h 6858001"/>
              <a:gd name="connsiteX178" fmla="*/ 4031193 w 8009775"/>
              <a:gd name="connsiteY178" fmla="*/ 2308544 h 6858001"/>
              <a:gd name="connsiteX179" fmla="*/ 4034740 w 8009775"/>
              <a:gd name="connsiteY179" fmla="*/ 2303463 h 6858001"/>
              <a:gd name="connsiteX180" fmla="*/ 4037991 w 8009775"/>
              <a:gd name="connsiteY180" fmla="*/ 2298384 h 6858001"/>
              <a:gd name="connsiteX181" fmla="*/ 4040946 w 8009775"/>
              <a:gd name="connsiteY181" fmla="*/ 2292985 h 6858001"/>
              <a:gd name="connsiteX182" fmla="*/ 4043606 w 8009775"/>
              <a:gd name="connsiteY182" fmla="*/ 2287588 h 6858001"/>
              <a:gd name="connsiteX183" fmla="*/ 4046267 w 8009775"/>
              <a:gd name="connsiteY183" fmla="*/ 2281873 h 6858001"/>
              <a:gd name="connsiteX184" fmla="*/ 4048040 w 8009775"/>
              <a:gd name="connsiteY184" fmla="*/ 2276476 h 6858001"/>
              <a:gd name="connsiteX185" fmla="*/ 4050109 w 8009775"/>
              <a:gd name="connsiteY185" fmla="*/ 2270761 h 6858001"/>
              <a:gd name="connsiteX186" fmla="*/ 4051587 w 8009775"/>
              <a:gd name="connsiteY186" fmla="*/ 2265046 h 6858001"/>
              <a:gd name="connsiteX187" fmla="*/ 4052769 w 8009775"/>
              <a:gd name="connsiteY187" fmla="*/ 2259331 h 6858001"/>
              <a:gd name="connsiteX188" fmla="*/ 4053656 w 8009775"/>
              <a:gd name="connsiteY188" fmla="*/ 2253298 h 6858001"/>
              <a:gd name="connsiteX189" fmla="*/ 4054542 w 8009775"/>
              <a:gd name="connsiteY189" fmla="*/ 2247266 h 6858001"/>
              <a:gd name="connsiteX190" fmla="*/ 4054838 w 8009775"/>
              <a:gd name="connsiteY190" fmla="*/ 2241551 h 6858001"/>
              <a:gd name="connsiteX191" fmla="*/ 4055133 w 8009775"/>
              <a:gd name="connsiteY191" fmla="*/ 2235519 h 6858001"/>
              <a:gd name="connsiteX192" fmla="*/ 4054838 w 8009775"/>
              <a:gd name="connsiteY192" fmla="*/ 2229804 h 6858001"/>
              <a:gd name="connsiteX193" fmla="*/ 4054542 w 8009775"/>
              <a:gd name="connsiteY193" fmla="*/ 2223770 h 6858001"/>
              <a:gd name="connsiteX194" fmla="*/ 4053656 w 8009775"/>
              <a:gd name="connsiteY194" fmla="*/ 2217739 h 6858001"/>
              <a:gd name="connsiteX195" fmla="*/ 4052769 w 8009775"/>
              <a:gd name="connsiteY195" fmla="*/ 2212024 h 6858001"/>
              <a:gd name="connsiteX196" fmla="*/ 4051587 w 8009775"/>
              <a:gd name="connsiteY196" fmla="*/ 2206309 h 6858001"/>
              <a:gd name="connsiteX197" fmla="*/ 4050109 w 8009775"/>
              <a:gd name="connsiteY197" fmla="*/ 2200593 h 6858001"/>
              <a:gd name="connsiteX198" fmla="*/ 4048040 w 8009775"/>
              <a:gd name="connsiteY198" fmla="*/ 2194878 h 6858001"/>
              <a:gd name="connsiteX199" fmla="*/ 4046267 w 8009775"/>
              <a:gd name="connsiteY199" fmla="*/ 2189163 h 6858001"/>
              <a:gd name="connsiteX200" fmla="*/ 4043606 w 8009775"/>
              <a:gd name="connsiteY200" fmla="*/ 2183765 h 6858001"/>
              <a:gd name="connsiteX201" fmla="*/ 4040946 w 8009775"/>
              <a:gd name="connsiteY201" fmla="*/ 2178368 h 6858001"/>
              <a:gd name="connsiteX202" fmla="*/ 4037991 w 8009775"/>
              <a:gd name="connsiteY202" fmla="*/ 2172970 h 6858001"/>
              <a:gd name="connsiteX203" fmla="*/ 4034740 w 8009775"/>
              <a:gd name="connsiteY203" fmla="*/ 2167890 h 6858001"/>
              <a:gd name="connsiteX204" fmla="*/ 4031193 w 8009775"/>
              <a:gd name="connsiteY204" fmla="*/ 2162494 h 6858001"/>
              <a:gd name="connsiteX205" fmla="*/ 4027646 w 8009775"/>
              <a:gd name="connsiteY205" fmla="*/ 2157730 h 6858001"/>
              <a:gd name="connsiteX206" fmla="*/ 4023213 w 8009775"/>
              <a:gd name="connsiteY206" fmla="*/ 2153285 h 6858001"/>
              <a:gd name="connsiteX207" fmla="*/ 4018779 w 8009775"/>
              <a:gd name="connsiteY207" fmla="*/ 2148523 h 6858001"/>
              <a:gd name="connsiteX208" fmla="*/ 3632182 w 8009775"/>
              <a:gd name="connsiteY208" fmla="*/ 1761490 h 6858001"/>
              <a:gd name="connsiteX209" fmla="*/ 3435928 w 8009775"/>
              <a:gd name="connsiteY209" fmla="*/ 1565276 h 6858001"/>
              <a:gd name="connsiteX210" fmla="*/ 3431198 w 8009775"/>
              <a:gd name="connsiteY210" fmla="*/ 1560514 h 6858001"/>
              <a:gd name="connsiteX211" fmla="*/ 3427356 w 8009775"/>
              <a:gd name="connsiteY211" fmla="*/ 1555751 h 6858001"/>
              <a:gd name="connsiteX212" fmla="*/ 3423218 w 8009775"/>
              <a:gd name="connsiteY212" fmla="*/ 1550671 h 6858001"/>
              <a:gd name="connsiteX213" fmla="*/ 3420262 w 8009775"/>
              <a:gd name="connsiteY213" fmla="*/ 1545909 h 6858001"/>
              <a:gd name="connsiteX214" fmla="*/ 3417012 w 8009775"/>
              <a:gd name="connsiteY214" fmla="*/ 1540829 h 6858001"/>
              <a:gd name="connsiteX215" fmla="*/ 3413760 w 8009775"/>
              <a:gd name="connsiteY215" fmla="*/ 1535430 h 6858001"/>
              <a:gd name="connsiteX216" fmla="*/ 3411100 w 8009775"/>
              <a:gd name="connsiteY216" fmla="*/ 1530034 h 6858001"/>
              <a:gd name="connsiteX217" fmla="*/ 3408736 w 8009775"/>
              <a:gd name="connsiteY217" fmla="*/ 1524635 h 6858001"/>
              <a:gd name="connsiteX218" fmla="*/ 3406371 w 8009775"/>
              <a:gd name="connsiteY218" fmla="*/ 1518920 h 6858001"/>
              <a:gd name="connsiteX219" fmla="*/ 3404598 w 8009775"/>
              <a:gd name="connsiteY219" fmla="*/ 1513205 h 6858001"/>
              <a:gd name="connsiteX220" fmla="*/ 3403120 w 8009775"/>
              <a:gd name="connsiteY220" fmla="*/ 1507174 h 6858001"/>
              <a:gd name="connsiteX221" fmla="*/ 3401938 w 8009775"/>
              <a:gd name="connsiteY221" fmla="*/ 1501459 h 6858001"/>
              <a:gd name="connsiteX222" fmla="*/ 3401051 w 8009775"/>
              <a:gd name="connsiteY222" fmla="*/ 1495744 h 6858001"/>
              <a:gd name="connsiteX223" fmla="*/ 3400460 w 8009775"/>
              <a:gd name="connsiteY223" fmla="*/ 1489710 h 6858001"/>
              <a:gd name="connsiteX224" fmla="*/ 3399869 w 8009775"/>
              <a:gd name="connsiteY224" fmla="*/ 1483995 h 6858001"/>
              <a:gd name="connsiteX225" fmla="*/ 3399573 w 8009775"/>
              <a:gd name="connsiteY225" fmla="*/ 1478281 h 6858001"/>
              <a:gd name="connsiteX226" fmla="*/ 3399869 w 8009775"/>
              <a:gd name="connsiteY226" fmla="*/ 1472249 h 6858001"/>
              <a:gd name="connsiteX227" fmla="*/ 3400460 w 8009775"/>
              <a:gd name="connsiteY227" fmla="*/ 1466215 h 6858001"/>
              <a:gd name="connsiteX228" fmla="*/ 3401051 w 8009775"/>
              <a:gd name="connsiteY228" fmla="*/ 1460183 h 6858001"/>
              <a:gd name="connsiteX229" fmla="*/ 3401938 w 8009775"/>
              <a:gd name="connsiteY229" fmla="*/ 1454468 h 6858001"/>
              <a:gd name="connsiteX230" fmla="*/ 3403120 w 8009775"/>
              <a:gd name="connsiteY230" fmla="*/ 1448754 h 6858001"/>
              <a:gd name="connsiteX231" fmla="*/ 3404598 w 8009775"/>
              <a:gd name="connsiteY231" fmla="*/ 1443039 h 6858001"/>
              <a:gd name="connsiteX232" fmla="*/ 3406371 w 8009775"/>
              <a:gd name="connsiteY232" fmla="*/ 1437324 h 6858001"/>
              <a:gd name="connsiteX233" fmla="*/ 3408736 w 8009775"/>
              <a:gd name="connsiteY233" fmla="*/ 1431609 h 6858001"/>
              <a:gd name="connsiteX234" fmla="*/ 3411100 w 8009775"/>
              <a:gd name="connsiteY234" fmla="*/ 1426211 h 6858001"/>
              <a:gd name="connsiteX235" fmla="*/ 3413760 w 8009775"/>
              <a:gd name="connsiteY235" fmla="*/ 1420814 h 6858001"/>
              <a:gd name="connsiteX236" fmla="*/ 3417012 w 8009775"/>
              <a:gd name="connsiteY236" fmla="*/ 1415416 h 6858001"/>
              <a:gd name="connsiteX237" fmla="*/ 3420262 w 8009775"/>
              <a:gd name="connsiteY237" fmla="*/ 1410336 h 6858001"/>
              <a:gd name="connsiteX238" fmla="*/ 3423218 w 8009775"/>
              <a:gd name="connsiteY238" fmla="*/ 1405256 h 6858001"/>
              <a:gd name="connsiteX239" fmla="*/ 3427356 w 8009775"/>
              <a:gd name="connsiteY239" fmla="*/ 1400175 h 6858001"/>
              <a:gd name="connsiteX240" fmla="*/ 3431198 w 8009775"/>
              <a:gd name="connsiteY240" fmla="*/ 1395731 h 6858001"/>
              <a:gd name="connsiteX241" fmla="*/ 3435928 w 8009775"/>
              <a:gd name="connsiteY241" fmla="*/ 1390969 h 6858001"/>
              <a:gd name="connsiteX242" fmla="*/ 3440361 w 8009775"/>
              <a:gd name="connsiteY242" fmla="*/ 1386524 h 6858001"/>
              <a:gd name="connsiteX243" fmla="*/ 3445386 w 8009775"/>
              <a:gd name="connsiteY243" fmla="*/ 1382396 h 6858001"/>
              <a:gd name="connsiteX244" fmla="*/ 3449819 w 8009775"/>
              <a:gd name="connsiteY244" fmla="*/ 1378585 h 6858001"/>
              <a:gd name="connsiteX245" fmla="*/ 3454844 w 8009775"/>
              <a:gd name="connsiteY245" fmla="*/ 1375094 h 6858001"/>
              <a:gd name="connsiteX246" fmla="*/ 3460459 w 8009775"/>
              <a:gd name="connsiteY246" fmla="*/ 1371919 h 6858001"/>
              <a:gd name="connsiteX247" fmla="*/ 3465780 w 8009775"/>
              <a:gd name="connsiteY247" fmla="*/ 1369061 h 6858001"/>
              <a:gd name="connsiteX248" fmla="*/ 3471100 w 8009775"/>
              <a:gd name="connsiteY248" fmla="*/ 1366204 h 6858001"/>
              <a:gd name="connsiteX249" fmla="*/ 3476420 w 8009775"/>
              <a:gd name="connsiteY249" fmla="*/ 1363980 h 6858001"/>
              <a:gd name="connsiteX250" fmla="*/ 3482331 w 8009775"/>
              <a:gd name="connsiteY250" fmla="*/ 1361759 h 6858001"/>
              <a:gd name="connsiteX251" fmla="*/ 3487947 w 8009775"/>
              <a:gd name="connsiteY251" fmla="*/ 1360170 h 6858001"/>
              <a:gd name="connsiteX252" fmla="*/ 3493858 w 8009775"/>
              <a:gd name="connsiteY252" fmla="*/ 1358265 h 6858001"/>
              <a:gd name="connsiteX253" fmla="*/ 3499474 w 8009775"/>
              <a:gd name="connsiteY253" fmla="*/ 1357314 h 6858001"/>
              <a:gd name="connsiteX254" fmla="*/ 3505385 w 8009775"/>
              <a:gd name="connsiteY254" fmla="*/ 1356043 h 6858001"/>
              <a:gd name="connsiteX255" fmla="*/ 3511001 w 8009775"/>
              <a:gd name="connsiteY255" fmla="*/ 1355409 h 6858001"/>
              <a:gd name="connsiteX256" fmla="*/ 3517208 w 8009775"/>
              <a:gd name="connsiteY256" fmla="*/ 1355090 h 6858001"/>
              <a:gd name="connsiteX257" fmla="*/ 3522823 w 8009775"/>
              <a:gd name="connsiteY257" fmla="*/ 1354773 h 6858001"/>
              <a:gd name="connsiteX258" fmla="*/ 3529030 w 8009775"/>
              <a:gd name="connsiteY258" fmla="*/ 1355090 h 6858001"/>
              <a:gd name="connsiteX259" fmla="*/ 3534646 w 8009775"/>
              <a:gd name="connsiteY259" fmla="*/ 1355409 h 6858001"/>
              <a:gd name="connsiteX260" fmla="*/ 3540557 w 8009775"/>
              <a:gd name="connsiteY260" fmla="*/ 1356043 h 6858001"/>
              <a:gd name="connsiteX261" fmla="*/ 3546468 w 8009775"/>
              <a:gd name="connsiteY261" fmla="*/ 1357314 h 6858001"/>
              <a:gd name="connsiteX262" fmla="*/ 3552380 w 8009775"/>
              <a:gd name="connsiteY262" fmla="*/ 1358265 h 6858001"/>
              <a:gd name="connsiteX263" fmla="*/ 3557995 w 8009775"/>
              <a:gd name="connsiteY263" fmla="*/ 1360170 h 6858001"/>
              <a:gd name="connsiteX264" fmla="*/ 3563906 w 8009775"/>
              <a:gd name="connsiteY264" fmla="*/ 1361759 h 6858001"/>
              <a:gd name="connsiteX265" fmla="*/ 3569227 w 8009775"/>
              <a:gd name="connsiteY265" fmla="*/ 1363980 h 6858001"/>
              <a:gd name="connsiteX266" fmla="*/ 3574842 w 8009775"/>
              <a:gd name="connsiteY266" fmla="*/ 1366204 h 6858001"/>
              <a:gd name="connsiteX267" fmla="*/ 3580458 w 8009775"/>
              <a:gd name="connsiteY267" fmla="*/ 1369061 h 6858001"/>
              <a:gd name="connsiteX268" fmla="*/ 3585778 w 8009775"/>
              <a:gd name="connsiteY268" fmla="*/ 1371919 h 6858001"/>
              <a:gd name="connsiteX269" fmla="*/ 3590803 w 8009775"/>
              <a:gd name="connsiteY269" fmla="*/ 1375094 h 6858001"/>
              <a:gd name="connsiteX270" fmla="*/ 3595828 w 8009775"/>
              <a:gd name="connsiteY270" fmla="*/ 1378585 h 6858001"/>
              <a:gd name="connsiteX271" fmla="*/ 3600852 w 8009775"/>
              <a:gd name="connsiteY271" fmla="*/ 1382396 h 6858001"/>
              <a:gd name="connsiteX272" fmla="*/ 3605581 w 8009775"/>
              <a:gd name="connsiteY272" fmla="*/ 1386524 h 6858001"/>
              <a:gd name="connsiteX273" fmla="*/ 3610014 w 8009775"/>
              <a:gd name="connsiteY273" fmla="*/ 1390969 h 6858001"/>
              <a:gd name="connsiteX274" fmla="*/ 3817500 w 8009775"/>
              <a:gd name="connsiteY274" fmla="*/ 1598296 h 6858001"/>
              <a:gd name="connsiteX275" fmla="*/ 3821934 w 8009775"/>
              <a:gd name="connsiteY275" fmla="*/ 1602423 h 6858001"/>
              <a:gd name="connsiteX276" fmla="*/ 3826663 w 8009775"/>
              <a:gd name="connsiteY276" fmla="*/ 1606869 h 6858001"/>
              <a:gd name="connsiteX277" fmla="*/ 3831687 w 8009775"/>
              <a:gd name="connsiteY277" fmla="*/ 1610361 h 6858001"/>
              <a:gd name="connsiteX278" fmla="*/ 3836712 w 8009775"/>
              <a:gd name="connsiteY278" fmla="*/ 1613854 h 6858001"/>
              <a:gd name="connsiteX279" fmla="*/ 3841736 w 8009775"/>
              <a:gd name="connsiteY279" fmla="*/ 1617345 h 6858001"/>
              <a:gd name="connsiteX280" fmla="*/ 3847352 w 8009775"/>
              <a:gd name="connsiteY280" fmla="*/ 1620204 h 6858001"/>
              <a:gd name="connsiteX281" fmla="*/ 3852672 w 8009775"/>
              <a:gd name="connsiteY281" fmla="*/ 1623061 h 6858001"/>
              <a:gd name="connsiteX282" fmla="*/ 3857992 w 8009775"/>
              <a:gd name="connsiteY282" fmla="*/ 1625283 h 6858001"/>
              <a:gd name="connsiteX283" fmla="*/ 3863608 w 8009775"/>
              <a:gd name="connsiteY283" fmla="*/ 1627189 h 6858001"/>
              <a:gd name="connsiteX284" fmla="*/ 3869519 w 8009775"/>
              <a:gd name="connsiteY284" fmla="*/ 1629094 h 6858001"/>
              <a:gd name="connsiteX285" fmla="*/ 3875135 w 8009775"/>
              <a:gd name="connsiteY285" fmla="*/ 1630998 h 6858001"/>
              <a:gd name="connsiteX286" fmla="*/ 3881046 w 8009775"/>
              <a:gd name="connsiteY286" fmla="*/ 1631950 h 6858001"/>
              <a:gd name="connsiteX287" fmla="*/ 3886662 w 8009775"/>
              <a:gd name="connsiteY287" fmla="*/ 1632904 h 6858001"/>
              <a:gd name="connsiteX288" fmla="*/ 3892869 w 8009775"/>
              <a:gd name="connsiteY288" fmla="*/ 1633856 h 6858001"/>
              <a:gd name="connsiteX289" fmla="*/ 3898485 w 8009775"/>
              <a:gd name="connsiteY289" fmla="*/ 1634174 h 6858001"/>
              <a:gd name="connsiteX290" fmla="*/ 3904396 w 8009775"/>
              <a:gd name="connsiteY290" fmla="*/ 1634174 h 6858001"/>
              <a:gd name="connsiteX291" fmla="*/ 3910307 w 8009775"/>
              <a:gd name="connsiteY291" fmla="*/ 1634174 h 6858001"/>
              <a:gd name="connsiteX292" fmla="*/ 3916219 w 8009775"/>
              <a:gd name="connsiteY292" fmla="*/ 1633856 h 6858001"/>
              <a:gd name="connsiteX293" fmla="*/ 3922425 w 8009775"/>
              <a:gd name="connsiteY293" fmla="*/ 1632904 h 6858001"/>
              <a:gd name="connsiteX294" fmla="*/ 3928041 w 8009775"/>
              <a:gd name="connsiteY294" fmla="*/ 1631950 h 6858001"/>
              <a:gd name="connsiteX295" fmla="*/ 3933657 w 8009775"/>
              <a:gd name="connsiteY295" fmla="*/ 1630998 h 6858001"/>
              <a:gd name="connsiteX296" fmla="*/ 3939568 w 8009775"/>
              <a:gd name="connsiteY296" fmla="*/ 1629094 h 6858001"/>
              <a:gd name="connsiteX297" fmla="*/ 3945184 w 8009775"/>
              <a:gd name="connsiteY297" fmla="*/ 1627189 h 6858001"/>
              <a:gd name="connsiteX298" fmla="*/ 3950799 w 8009775"/>
              <a:gd name="connsiteY298" fmla="*/ 1625283 h 6858001"/>
              <a:gd name="connsiteX299" fmla="*/ 3956415 w 8009775"/>
              <a:gd name="connsiteY299" fmla="*/ 1623061 h 6858001"/>
              <a:gd name="connsiteX300" fmla="*/ 3961735 w 8009775"/>
              <a:gd name="connsiteY300" fmla="*/ 1620204 h 6858001"/>
              <a:gd name="connsiteX301" fmla="*/ 3967055 w 8009775"/>
              <a:gd name="connsiteY301" fmla="*/ 1617345 h 6858001"/>
              <a:gd name="connsiteX302" fmla="*/ 3972376 w 8009775"/>
              <a:gd name="connsiteY302" fmla="*/ 1613854 h 6858001"/>
              <a:gd name="connsiteX303" fmla="*/ 3977400 w 8009775"/>
              <a:gd name="connsiteY303" fmla="*/ 1610361 h 6858001"/>
              <a:gd name="connsiteX304" fmla="*/ 3982425 w 8009775"/>
              <a:gd name="connsiteY304" fmla="*/ 1606869 h 6858001"/>
              <a:gd name="connsiteX305" fmla="*/ 3986858 w 8009775"/>
              <a:gd name="connsiteY305" fmla="*/ 1602423 h 6858001"/>
              <a:gd name="connsiteX306" fmla="*/ 3991587 w 8009775"/>
              <a:gd name="connsiteY306" fmla="*/ 1598296 h 6858001"/>
              <a:gd name="connsiteX307" fmla="*/ 3996021 w 8009775"/>
              <a:gd name="connsiteY307" fmla="*/ 1593533 h 6858001"/>
              <a:gd name="connsiteX308" fmla="*/ 4000159 w 8009775"/>
              <a:gd name="connsiteY308" fmla="*/ 1588771 h 6858001"/>
              <a:gd name="connsiteX309" fmla="*/ 4003705 w 8009775"/>
              <a:gd name="connsiteY309" fmla="*/ 1583691 h 6858001"/>
              <a:gd name="connsiteX310" fmla="*/ 4007548 w 8009775"/>
              <a:gd name="connsiteY310" fmla="*/ 1578928 h 6858001"/>
              <a:gd name="connsiteX311" fmla="*/ 4010799 w 8009775"/>
              <a:gd name="connsiteY311" fmla="*/ 1573849 h 6858001"/>
              <a:gd name="connsiteX312" fmla="*/ 4013459 w 8009775"/>
              <a:gd name="connsiteY312" fmla="*/ 1568451 h 6858001"/>
              <a:gd name="connsiteX313" fmla="*/ 4016415 w 8009775"/>
              <a:gd name="connsiteY313" fmla="*/ 1563054 h 6858001"/>
              <a:gd name="connsiteX314" fmla="*/ 4018484 w 8009775"/>
              <a:gd name="connsiteY314" fmla="*/ 1557339 h 6858001"/>
              <a:gd name="connsiteX315" fmla="*/ 4020848 w 8009775"/>
              <a:gd name="connsiteY315" fmla="*/ 1551941 h 6858001"/>
              <a:gd name="connsiteX316" fmla="*/ 4022621 w 8009775"/>
              <a:gd name="connsiteY316" fmla="*/ 1546226 h 6858001"/>
              <a:gd name="connsiteX317" fmla="*/ 4024395 w 8009775"/>
              <a:gd name="connsiteY317" fmla="*/ 1540511 h 6858001"/>
              <a:gd name="connsiteX318" fmla="*/ 4025282 w 8009775"/>
              <a:gd name="connsiteY318" fmla="*/ 1534478 h 6858001"/>
              <a:gd name="connsiteX319" fmla="*/ 4026464 w 8009775"/>
              <a:gd name="connsiteY319" fmla="*/ 1528763 h 6858001"/>
              <a:gd name="connsiteX320" fmla="*/ 4027055 w 8009775"/>
              <a:gd name="connsiteY320" fmla="*/ 1522731 h 6858001"/>
              <a:gd name="connsiteX321" fmla="*/ 4027646 w 8009775"/>
              <a:gd name="connsiteY321" fmla="*/ 1517016 h 6858001"/>
              <a:gd name="connsiteX322" fmla="*/ 4027646 w 8009775"/>
              <a:gd name="connsiteY322" fmla="*/ 1510984 h 6858001"/>
              <a:gd name="connsiteX323" fmla="*/ 4027646 w 8009775"/>
              <a:gd name="connsiteY323" fmla="*/ 1505268 h 6858001"/>
              <a:gd name="connsiteX324" fmla="*/ 4027055 w 8009775"/>
              <a:gd name="connsiteY324" fmla="*/ 1499553 h 6858001"/>
              <a:gd name="connsiteX325" fmla="*/ 4026464 w 8009775"/>
              <a:gd name="connsiteY325" fmla="*/ 1493204 h 6858001"/>
              <a:gd name="connsiteX326" fmla="*/ 4025282 w 8009775"/>
              <a:gd name="connsiteY326" fmla="*/ 1487489 h 6858001"/>
              <a:gd name="connsiteX327" fmla="*/ 4024395 w 8009775"/>
              <a:gd name="connsiteY327" fmla="*/ 1481773 h 6858001"/>
              <a:gd name="connsiteX328" fmla="*/ 4022621 w 8009775"/>
              <a:gd name="connsiteY328" fmla="*/ 1476058 h 6858001"/>
              <a:gd name="connsiteX329" fmla="*/ 4020848 w 8009775"/>
              <a:gd name="connsiteY329" fmla="*/ 1470343 h 6858001"/>
              <a:gd name="connsiteX330" fmla="*/ 4018484 w 8009775"/>
              <a:gd name="connsiteY330" fmla="*/ 1464629 h 6858001"/>
              <a:gd name="connsiteX331" fmla="*/ 4016415 w 8009775"/>
              <a:gd name="connsiteY331" fmla="*/ 1459231 h 6858001"/>
              <a:gd name="connsiteX332" fmla="*/ 4013459 w 8009775"/>
              <a:gd name="connsiteY332" fmla="*/ 1453834 h 6858001"/>
              <a:gd name="connsiteX333" fmla="*/ 4010799 w 8009775"/>
              <a:gd name="connsiteY333" fmla="*/ 1448436 h 6858001"/>
              <a:gd name="connsiteX334" fmla="*/ 4007548 w 8009775"/>
              <a:gd name="connsiteY334" fmla="*/ 1443356 h 6858001"/>
              <a:gd name="connsiteX335" fmla="*/ 4003705 w 8009775"/>
              <a:gd name="connsiteY335" fmla="*/ 1438275 h 6858001"/>
              <a:gd name="connsiteX336" fmla="*/ 4000159 w 8009775"/>
              <a:gd name="connsiteY336" fmla="*/ 1433195 h 6858001"/>
              <a:gd name="connsiteX337" fmla="*/ 3996021 w 8009775"/>
              <a:gd name="connsiteY337" fmla="*/ 1428751 h 6858001"/>
              <a:gd name="connsiteX338" fmla="*/ 3991587 w 8009775"/>
              <a:gd name="connsiteY338" fmla="*/ 1423988 h 6858001"/>
              <a:gd name="connsiteX339" fmla="*/ 3323022 w 8009775"/>
              <a:gd name="connsiteY339" fmla="*/ 755333 h 6858001"/>
              <a:gd name="connsiteX340" fmla="*/ 3316815 w 8009775"/>
              <a:gd name="connsiteY340" fmla="*/ 748348 h 6858001"/>
              <a:gd name="connsiteX341" fmla="*/ 3310904 w 8009775"/>
              <a:gd name="connsiteY341" fmla="*/ 741045 h 6858001"/>
              <a:gd name="connsiteX342" fmla="*/ 3305584 w 8009775"/>
              <a:gd name="connsiteY342" fmla="*/ 733108 h 6858001"/>
              <a:gd name="connsiteX343" fmla="*/ 3300855 w 8009775"/>
              <a:gd name="connsiteY343" fmla="*/ 725170 h 6858001"/>
              <a:gd name="connsiteX344" fmla="*/ 3297308 w 8009775"/>
              <a:gd name="connsiteY344" fmla="*/ 716915 h 6858001"/>
              <a:gd name="connsiteX345" fmla="*/ 3293761 w 8009775"/>
              <a:gd name="connsiteY345" fmla="*/ 708660 h 6858001"/>
              <a:gd name="connsiteX346" fmla="*/ 3291101 w 8009775"/>
              <a:gd name="connsiteY346" fmla="*/ 699770 h 6858001"/>
              <a:gd name="connsiteX347" fmla="*/ 3289328 w 8009775"/>
              <a:gd name="connsiteY347" fmla="*/ 691198 h 6858001"/>
              <a:gd name="connsiteX348" fmla="*/ 2596527 w 8009775"/>
              <a:gd name="connsiteY348" fmla="*/ 0 h 6858001"/>
              <a:gd name="connsiteX0" fmla="*/ 2596527 w 8009775"/>
              <a:gd name="connsiteY0" fmla="*/ 0 h 6858001"/>
              <a:gd name="connsiteX1" fmla="*/ 2165004 w 8009775"/>
              <a:gd name="connsiteY1" fmla="*/ 0 h 6858001"/>
              <a:gd name="connsiteX2" fmla="*/ 3265978 w 8009775"/>
              <a:gd name="connsiteY2" fmla="*/ 1101091 h 6858001"/>
              <a:gd name="connsiteX3" fmla="*/ 3270708 w 8009775"/>
              <a:gd name="connsiteY3" fmla="*/ 1105854 h 6858001"/>
              <a:gd name="connsiteX4" fmla="*/ 3274550 w 8009775"/>
              <a:gd name="connsiteY4" fmla="*/ 1110615 h 6858001"/>
              <a:gd name="connsiteX5" fmla="*/ 3278688 w 8009775"/>
              <a:gd name="connsiteY5" fmla="*/ 1115696 h 6858001"/>
              <a:gd name="connsiteX6" fmla="*/ 3282234 w 8009775"/>
              <a:gd name="connsiteY6" fmla="*/ 1120776 h 6858001"/>
              <a:gd name="connsiteX7" fmla="*/ 3285486 w 8009775"/>
              <a:gd name="connsiteY7" fmla="*/ 1126174 h 6858001"/>
              <a:gd name="connsiteX8" fmla="*/ 3288146 w 8009775"/>
              <a:gd name="connsiteY8" fmla="*/ 1131570 h 6858001"/>
              <a:gd name="connsiteX9" fmla="*/ 3291101 w 8009775"/>
              <a:gd name="connsiteY9" fmla="*/ 1136968 h 6858001"/>
              <a:gd name="connsiteX10" fmla="*/ 3293761 w 8009775"/>
              <a:gd name="connsiteY10" fmla="*/ 1142366 h 6858001"/>
              <a:gd name="connsiteX11" fmla="*/ 3295830 w 8009775"/>
              <a:gd name="connsiteY11" fmla="*/ 1148081 h 6858001"/>
              <a:gd name="connsiteX12" fmla="*/ 3297604 w 8009775"/>
              <a:gd name="connsiteY12" fmla="*/ 1153796 h 6858001"/>
              <a:gd name="connsiteX13" fmla="*/ 3299082 w 8009775"/>
              <a:gd name="connsiteY13" fmla="*/ 1159829 h 6858001"/>
              <a:gd name="connsiteX14" fmla="*/ 3300559 w 8009775"/>
              <a:gd name="connsiteY14" fmla="*/ 1165544 h 6858001"/>
              <a:gd name="connsiteX15" fmla="*/ 3301446 w 8009775"/>
              <a:gd name="connsiteY15" fmla="*/ 1171893 h 6858001"/>
              <a:gd name="connsiteX16" fmla="*/ 3302333 w 8009775"/>
              <a:gd name="connsiteY16" fmla="*/ 1177608 h 6858001"/>
              <a:gd name="connsiteX17" fmla="*/ 3302628 w 8009775"/>
              <a:gd name="connsiteY17" fmla="*/ 1183641 h 6858001"/>
              <a:gd name="connsiteX18" fmla="*/ 3302628 w 8009775"/>
              <a:gd name="connsiteY18" fmla="*/ 1189356 h 6858001"/>
              <a:gd name="connsiteX19" fmla="*/ 3302628 w 8009775"/>
              <a:gd name="connsiteY19" fmla="*/ 1195388 h 6858001"/>
              <a:gd name="connsiteX20" fmla="*/ 3302333 w 8009775"/>
              <a:gd name="connsiteY20" fmla="*/ 1201739 h 6858001"/>
              <a:gd name="connsiteX21" fmla="*/ 3301446 w 8009775"/>
              <a:gd name="connsiteY21" fmla="*/ 1207454 h 6858001"/>
              <a:gd name="connsiteX22" fmla="*/ 3300559 w 8009775"/>
              <a:gd name="connsiteY22" fmla="*/ 1213486 h 6858001"/>
              <a:gd name="connsiteX23" fmla="*/ 3299082 w 8009775"/>
              <a:gd name="connsiteY23" fmla="*/ 1219200 h 6858001"/>
              <a:gd name="connsiteX24" fmla="*/ 3297604 w 8009775"/>
              <a:gd name="connsiteY24" fmla="*/ 1225233 h 6858001"/>
              <a:gd name="connsiteX25" fmla="*/ 3295830 w 8009775"/>
              <a:gd name="connsiteY25" fmla="*/ 1230949 h 6858001"/>
              <a:gd name="connsiteX26" fmla="*/ 3293761 w 8009775"/>
              <a:gd name="connsiteY26" fmla="*/ 1236346 h 6858001"/>
              <a:gd name="connsiteX27" fmla="*/ 3291101 w 8009775"/>
              <a:gd name="connsiteY27" fmla="*/ 1242061 h 6858001"/>
              <a:gd name="connsiteX28" fmla="*/ 3288146 w 8009775"/>
              <a:gd name="connsiteY28" fmla="*/ 1247459 h 6858001"/>
              <a:gd name="connsiteX29" fmla="*/ 3285486 w 8009775"/>
              <a:gd name="connsiteY29" fmla="*/ 1252855 h 6858001"/>
              <a:gd name="connsiteX30" fmla="*/ 3282234 w 8009775"/>
              <a:gd name="connsiteY30" fmla="*/ 1258254 h 6858001"/>
              <a:gd name="connsiteX31" fmla="*/ 3278688 w 8009775"/>
              <a:gd name="connsiteY31" fmla="*/ 1263333 h 6858001"/>
              <a:gd name="connsiteX32" fmla="*/ 3274550 w 8009775"/>
              <a:gd name="connsiteY32" fmla="*/ 1268413 h 6858001"/>
              <a:gd name="connsiteX33" fmla="*/ 3270708 w 8009775"/>
              <a:gd name="connsiteY33" fmla="*/ 1273494 h 6858001"/>
              <a:gd name="connsiteX34" fmla="*/ 3265978 w 8009775"/>
              <a:gd name="connsiteY34" fmla="*/ 1278255 h 6858001"/>
              <a:gd name="connsiteX35" fmla="*/ 3261249 w 8009775"/>
              <a:gd name="connsiteY35" fmla="*/ 1282384 h 6858001"/>
              <a:gd name="connsiteX36" fmla="*/ 3256816 w 8009775"/>
              <a:gd name="connsiteY36" fmla="*/ 1286510 h 6858001"/>
              <a:gd name="connsiteX37" fmla="*/ 3251791 w 8009775"/>
              <a:gd name="connsiteY37" fmla="*/ 1290321 h 6858001"/>
              <a:gd name="connsiteX38" fmla="*/ 3246767 w 8009775"/>
              <a:gd name="connsiteY38" fmla="*/ 1293814 h 6858001"/>
              <a:gd name="connsiteX39" fmla="*/ 3241151 w 8009775"/>
              <a:gd name="connsiteY39" fmla="*/ 1297306 h 6858001"/>
              <a:gd name="connsiteX40" fmla="*/ 3235831 w 8009775"/>
              <a:gd name="connsiteY40" fmla="*/ 1300481 h 6858001"/>
              <a:gd name="connsiteX41" fmla="*/ 3230511 w 8009775"/>
              <a:gd name="connsiteY41" fmla="*/ 1303021 h 6858001"/>
              <a:gd name="connsiteX42" fmla="*/ 3224600 w 8009775"/>
              <a:gd name="connsiteY42" fmla="*/ 1305560 h 6858001"/>
              <a:gd name="connsiteX43" fmla="*/ 3218984 w 8009775"/>
              <a:gd name="connsiteY43" fmla="*/ 1307465 h 6858001"/>
              <a:gd name="connsiteX44" fmla="*/ 3213072 w 8009775"/>
              <a:gd name="connsiteY44" fmla="*/ 1309371 h 6858001"/>
              <a:gd name="connsiteX45" fmla="*/ 3207457 w 8009775"/>
              <a:gd name="connsiteY45" fmla="*/ 1311275 h 6858001"/>
              <a:gd name="connsiteX46" fmla="*/ 3201841 w 8009775"/>
              <a:gd name="connsiteY46" fmla="*/ 1312228 h 6858001"/>
              <a:gd name="connsiteX47" fmla="*/ 3195634 w 8009775"/>
              <a:gd name="connsiteY47" fmla="*/ 1313180 h 6858001"/>
              <a:gd name="connsiteX48" fmla="*/ 3189428 w 8009775"/>
              <a:gd name="connsiteY48" fmla="*/ 1314133 h 6858001"/>
              <a:gd name="connsiteX49" fmla="*/ 3183812 w 8009775"/>
              <a:gd name="connsiteY49" fmla="*/ 1314450 h 6858001"/>
              <a:gd name="connsiteX50" fmla="*/ 3177605 w 8009775"/>
              <a:gd name="connsiteY50" fmla="*/ 1314769 h 6858001"/>
              <a:gd name="connsiteX51" fmla="*/ 3171694 w 8009775"/>
              <a:gd name="connsiteY51" fmla="*/ 1314450 h 6858001"/>
              <a:gd name="connsiteX52" fmla="*/ 3165782 w 8009775"/>
              <a:gd name="connsiteY52" fmla="*/ 1314133 h 6858001"/>
              <a:gd name="connsiteX53" fmla="*/ 3159576 w 8009775"/>
              <a:gd name="connsiteY53" fmla="*/ 1313180 h 6858001"/>
              <a:gd name="connsiteX54" fmla="*/ 3153960 w 8009775"/>
              <a:gd name="connsiteY54" fmla="*/ 1312228 h 6858001"/>
              <a:gd name="connsiteX55" fmla="*/ 3147753 w 8009775"/>
              <a:gd name="connsiteY55" fmla="*/ 1311275 h 6858001"/>
              <a:gd name="connsiteX56" fmla="*/ 3142137 w 8009775"/>
              <a:gd name="connsiteY56" fmla="*/ 1309371 h 6858001"/>
              <a:gd name="connsiteX57" fmla="*/ 3136226 w 8009775"/>
              <a:gd name="connsiteY57" fmla="*/ 1307465 h 6858001"/>
              <a:gd name="connsiteX58" fmla="*/ 3130610 w 8009775"/>
              <a:gd name="connsiteY58" fmla="*/ 1305560 h 6858001"/>
              <a:gd name="connsiteX59" fmla="*/ 3124994 w 8009775"/>
              <a:gd name="connsiteY59" fmla="*/ 1303021 h 6858001"/>
              <a:gd name="connsiteX60" fmla="*/ 3119379 w 8009775"/>
              <a:gd name="connsiteY60" fmla="*/ 1300481 h 6858001"/>
              <a:gd name="connsiteX61" fmla="*/ 3114059 w 8009775"/>
              <a:gd name="connsiteY61" fmla="*/ 1297306 h 6858001"/>
              <a:gd name="connsiteX62" fmla="*/ 3109034 w 8009775"/>
              <a:gd name="connsiteY62" fmla="*/ 1293814 h 6858001"/>
              <a:gd name="connsiteX63" fmla="*/ 3103714 w 8009775"/>
              <a:gd name="connsiteY63" fmla="*/ 1290321 h 6858001"/>
              <a:gd name="connsiteX64" fmla="*/ 3098689 w 8009775"/>
              <a:gd name="connsiteY64" fmla="*/ 1286510 h 6858001"/>
              <a:gd name="connsiteX65" fmla="*/ 3093960 w 8009775"/>
              <a:gd name="connsiteY65" fmla="*/ 1282384 h 6858001"/>
              <a:gd name="connsiteX66" fmla="*/ 3089231 w 8009775"/>
              <a:gd name="connsiteY66" fmla="*/ 1278255 h 6858001"/>
              <a:gd name="connsiteX67" fmla="*/ 1811214 w 8009775"/>
              <a:gd name="connsiteY67" fmla="*/ 0 h 6858001"/>
              <a:gd name="connsiteX68" fmla="*/ 0 w 8009775"/>
              <a:gd name="connsiteY68" fmla="*/ 0 h 6858001"/>
              <a:gd name="connsiteX69" fmla="*/ 0 w 8009775"/>
              <a:gd name="connsiteY69" fmla="*/ 6858000 h 6858001"/>
              <a:gd name="connsiteX70" fmla="*/ 7507651 w 8009775"/>
              <a:gd name="connsiteY70" fmla="*/ 6858001 h 6858001"/>
              <a:gd name="connsiteX71" fmla="*/ 8009775 w 8009775"/>
              <a:gd name="connsiteY71" fmla="*/ 6858000 h 6858001"/>
              <a:gd name="connsiteX72" fmla="*/ 3996316 w 8009775"/>
              <a:gd name="connsiteY72" fmla="*/ 2818448 h 6858001"/>
              <a:gd name="connsiteX73" fmla="*/ 3980947 w 8009775"/>
              <a:gd name="connsiteY73" fmla="*/ 2804795 h 6858001"/>
              <a:gd name="connsiteX74" fmla="*/ 3965282 w 8009775"/>
              <a:gd name="connsiteY74" fmla="*/ 2791144 h 6858001"/>
              <a:gd name="connsiteX75" fmla="*/ 3950799 w 8009775"/>
              <a:gd name="connsiteY75" fmla="*/ 2776856 h 6858001"/>
              <a:gd name="connsiteX76" fmla="*/ 3936021 w 8009775"/>
              <a:gd name="connsiteY76" fmla="*/ 2762568 h 6858001"/>
              <a:gd name="connsiteX77" fmla="*/ 3001744 w 8009775"/>
              <a:gd name="connsiteY77" fmla="*/ 1828166 h 6858001"/>
              <a:gd name="connsiteX78" fmla="*/ 2997311 w 8009775"/>
              <a:gd name="connsiteY78" fmla="*/ 1823404 h 6858001"/>
              <a:gd name="connsiteX79" fmla="*/ 2992878 w 8009775"/>
              <a:gd name="connsiteY79" fmla="*/ 1818640 h 6858001"/>
              <a:gd name="connsiteX80" fmla="*/ 2989331 w 8009775"/>
              <a:gd name="connsiteY80" fmla="*/ 1814195 h 6858001"/>
              <a:gd name="connsiteX81" fmla="*/ 2985784 w 8009775"/>
              <a:gd name="connsiteY81" fmla="*/ 1808799 h 6858001"/>
              <a:gd name="connsiteX82" fmla="*/ 2982533 w 8009775"/>
              <a:gd name="connsiteY82" fmla="*/ 1803718 h 6858001"/>
              <a:gd name="connsiteX83" fmla="*/ 2979873 w 8009775"/>
              <a:gd name="connsiteY83" fmla="*/ 1798321 h 6858001"/>
              <a:gd name="connsiteX84" fmla="*/ 2976917 w 8009775"/>
              <a:gd name="connsiteY84" fmla="*/ 1792924 h 6858001"/>
              <a:gd name="connsiteX85" fmla="*/ 2974552 w 8009775"/>
              <a:gd name="connsiteY85" fmla="*/ 1787526 h 6858001"/>
              <a:gd name="connsiteX86" fmla="*/ 2972484 w 8009775"/>
              <a:gd name="connsiteY86" fmla="*/ 1781811 h 6858001"/>
              <a:gd name="connsiteX87" fmla="*/ 2970710 w 8009775"/>
              <a:gd name="connsiteY87" fmla="*/ 1776095 h 6858001"/>
              <a:gd name="connsiteX88" fmla="*/ 2968937 w 8009775"/>
              <a:gd name="connsiteY88" fmla="*/ 1770380 h 6858001"/>
              <a:gd name="connsiteX89" fmla="*/ 2967755 w 8009775"/>
              <a:gd name="connsiteY89" fmla="*/ 1764665 h 6858001"/>
              <a:gd name="connsiteX90" fmla="*/ 2966868 w 8009775"/>
              <a:gd name="connsiteY90" fmla="*/ 1758634 h 6858001"/>
              <a:gd name="connsiteX91" fmla="*/ 2965981 w 8009775"/>
              <a:gd name="connsiteY91" fmla="*/ 1752919 h 6858001"/>
              <a:gd name="connsiteX92" fmla="*/ 2965686 w 8009775"/>
              <a:gd name="connsiteY92" fmla="*/ 1746885 h 6858001"/>
              <a:gd name="connsiteX93" fmla="*/ 2965686 w 8009775"/>
              <a:gd name="connsiteY93" fmla="*/ 1741170 h 6858001"/>
              <a:gd name="connsiteX94" fmla="*/ 2965686 w 8009775"/>
              <a:gd name="connsiteY94" fmla="*/ 1735139 h 6858001"/>
              <a:gd name="connsiteX95" fmla="*/ 2965981 w 8009775"/>
              <a:gd name="connsiteY95" fmla="*/ 1729424 h 6858001"/>
              <a:gd name="connsiteX96" fmla="*/ 2966868 w 8009775"/>
              <a:gd name="connsiteY96" fmla="*/ 1723074 h 6858001"/>
              <a:gd name="connsiteX97" fmla="*/ 2967755 w 8009775"/>
              <a:gd name="connsiteY97" fmla="*/ 1717358 h 6858001"/>
              <a:gd name="connsiteX98" fmla="*/ 2968937 w 8009775"/>
              <a:gd name="connsiteY98" fmla="*/ 1711643 h 6858001"/>
              <a:gd name="connsiteX99" fmla="*/ 2970710 w 8009775"/>
              <a:gd name="connsiteY99" fmla="*/ 1705929 h 6858001"/>
              <a:gd name="connsiteX100" fmla="*/ 2972484 w 8009775"/>
              <a:gd name="connsiteY100" fmla="*/ 1700214 h 6858001"/>
              <a:gd name="connsiteX101" fmla="*/ 2974552 w 8009775"/>
              <a:gd name="connsiteY101" fmla="*/ 1694816 h 6858001"/>
              <a:gd name="connsiteX102" fmla="*/ 2976917 w 8009775"/>
              <a:gd name="connsiteY102" fmla="*/ 1689101 h 6858001"/>
              <a:gd name="connsiteX103" fmla="*/ 2979873 w 8009775"/>
              <a:gd name="connsiteY103" fmla="*/ 1683703 h 6858001"/>
              <a:gd name="connsiteX104" fmla="*/ 2982533 w 8009775"/>
              <a:gd name="connsiteY104" fmla="*/ 1678305 h 6858001"/>
              <a:gd name="connsiteX105" fmla="*/ 2985784 w 8009775"/>
              <a:gd name="connsiteY105" fmla="*/ 1673226 h 6858001"/>
              <a:gd name="connsiteX106" fmla="*/ 2989331 w 8009775"/>
              <a:gd name="connsiteY106" fmla="*/ 1668145 h 6858001"/>
              <a:gd name="connsiteX107" fmla="*/ 2992878 w 8009775"/>
              <a:gd name="connsiteY107" fmla="*/ 1663066 h 6858001"/>
              <a:gd name="connsiteX108" fmla="*/ 2997311 w 8009775"/>
              <a:gd name="connsiteY108" fmla="*/ 1658621 h 6858001"/>
              <a:gd name="connsiteX109" fmla="*/ 3001744 w 8009775"/>
              <a:gd name="connsiteY109" fmla="*/ 1653859 h 6858001"/>
              <a:gd name="connsiteX110" fmla="*/ 3006178 w 8009775"/>
              <a:gd name="connsiteY110" fmla="*/ 1649414 h 6858001"/>
              <a:gd name="connsiteX111" fmla="*/ 3010907 w 8009775"/>
              <a:gd name="connsiteY111" fmla="*/ 1645603 h 6858001"/>
              <a:gd name="connsiteX112" fmla="*/ 3015932 w 8009775"/>
              <a:gd name="connsiteY112" fmla="*/ 1641794 h 6858001"/>
              <a:gd name="connsiteX113" fmla="*/ 3020956 w 8009775"/>
              <a:gd name="connsiteY113" fmla="*/ 1637984 h 6858001"/>
              <a:gd name="connsiteX114" fmla="*/ 3025981 w 8009775"/>
              <a:gd name="connsiteY114" fmla="*/ 1634809 h 6858001"/>
              <a:gd name="connsiteX115" fmla="*/ 3031596 w 8009775"/>
              <a:gd name="connsiteY115" fmla="*/ 1631950 h 6858001"/>
              <a:gd name="connsiteX116" fmla="*/ 3036916 w 8009775"/>
              <a:gd name="connsiteY116" fmla="*/ 1629094 h 6858001"/>
              <a:gd name="connsiteX117" fmla="*/ 3042532 w 8009775"/>
              <a:gd name="connsiteY117" fmla="*/ 1626871 h 6858001"/>
              <a:gd name="connsiteX118" fmla="*/ 3047852 w 8009775"/>
              <a:gd name="connsiteY118" fmla="*/ 1624649 h 6858001"/>
              <a:gd name="connsiteX119" fmla="*/ 3053764 w 8009775"/>
              <a:gd name="connsiteY119" fmla="*/ 1623061 h 6858001"/>
              <a:gd name="connsiteX120" fmla="*/ 3059379 w 8009775"/>
              <a:gd name="connsiteY120" fmla="*/ 1621155 h 6858001"/>
              <a:gd name="connsiteX121" fmla="*/ 3065291 w 8009775"/>
              <a:gd name="connsiteY121" fmla="*/ 1620204 h 6858001"/>
              <a:gd name="connsiteX122" fmla="*/ 3070906 w 8009775"/>
              <a:gd name="connsiteY122" fmla="*/ 1618934 h 6858001"/>
              <a:gd name="connsiteX123" fmla="*/ 3077113 w 8009775"/>
              <a:gd name="connsiteY123" fmla="*/ 1618299 h 6858001"/>
              <a:gd name="connsiteX124" fmla="*/ 3082729 w 8009775"/>
              <a:gd name="connsiteY124" fmla="*/ 1617981 h 6858001"/>
              <a:gd name="connsiteX125" fmla="*/ 3088936 w 8009775"/>
              <a:gd name="connsiteY125" fmla="*/ 1617981 h 6858001"/>
              <a:gd name="connsiteX126" fmla="*/ 3094552 w 8009775"/>
              <a:gd name="connsiteY126" fmla="*/ 1617981 h 6858001"/>
              <a:gd name="connsiteX127" fmla="*/ 3100758 w 8009775"/>
              <a:gd name="connsiteY127" fmla="*/ 1618299 h 6858001"/>
              <a:gd name="connsiteX128" fmla="*/ 3106670 w 8009775"/>
              <a:gd name="connsiteY128" fmla="*/ 1618934 h 6858001"/>
              <a:gd name="connsiteX129" fmla="*/ 3112285 w 8009775"/>
              <a:gd name="connsiteY129" fmla="*/ 1620204 h 6858001"/>
              <a:gd name="connsiteX130" fmla="*/ 3117901 w 8009775"/>
              <a:gd name="connsiteY130" fmla="*/ 1621155 h 6858001"/>
              <a:gd name="connsiteX131" fmla="*/ 3123812 w 8009775"/>
              <a:gd name="connsiteY131" fmla="*/ 1623061 h 6858001"/>
              <a:gd name="connsiteX132" fmla="*/ 3129428 w 8009775"/>
              <a:gd name="connsiteY132" fmla="*/ 1624649 h 6858001"/>
              <a:gd name="connsiteX133" fmla="*/ 3135339 w 8009775"/>
              <a:gd name="connsiteY133" fmla="*/ 1626871 h 6858001"/>
              <a:gd name="connsiteX134" fmla="*/ 3140660 w 8009775"/>
              <a:gd name="connsiteY134" fmla="*/ 1629094 h 6858001"/>
              <a:gd name="connsiteX135" fmla="*/ 3145980 w 8009775"/>
              <a:gd name="connsiteY135" fmla="*/ 1631950 h 6858001"/>
              <a:gd name="connsiteX136" fmla="*/ 3151300 w 8009775"/>
              <a:gd name="connsiteY136" fmla="*/ 1634809 h 6858001"/>
              <a:gd name="connsiteX137" fmla="*/ 3156324 w 8009775"/>
              <a:gd name="connsiteY137" fmla="*/ 1637984 h 6858001"/>
              <a:gd name="connsiteX138" fmla="*/ 3161349 w 8009775"/>
              <a:gd name="connsiteY138" fmla="*/ 1641794 h 6858001"/>
              <a:gd name="connsiteX139" fmla="*/ 3166374 w 8009775"/>
              <a:gd name="connsiteY139" fmla="*/ 1645603 h 6858001"/>
              <a:gd name="connsiteX140" fmla="*/ 3171102 w 8009775"/>
              <a:gd name="connsiteY140" fmla="*/ 1649414 h 6858001"/>
              <a:gd name="connsiteX141" fmla="*/ 3175832 w 8009775"/>
              <a:gd name="connsiteY141" fmla="*/ 1653859 h 6858001"/>
              <a:gd name="connsiteX142" fmla="*/ 3844692 w 8009775"/>
              <a:gd name="connsiteY142" fmla="*/ 2322830 h 6858001"/>
              <a:gd name="connsiteX143" fmla="*/ 3849421 w 8009775"/>
              <a:gd name="connsiteY143" fmla="*/ 2326958 h 6858001"/>
              <a:gd name="connsiteX144" fmla="*/ 3854150 w 8009775"/>
              <a:gd name="connsiteY144" fmla="*/ 2331085 h 6858001"/>
              <a:gd name="connsiteX145" fmla="*/ 3859175 w 8009775"/>
              <a:gd name="connsiteY145" fmla="*/ 2334895 h 6858001"/>
              <a:gd name="connsiteX146" fmla="*/ 3864199 w 8009775"/>
              <a:gd name="connsiteY146" fmla="*/ 2338705 h 6858001"/>
              <a:gd name="connsiteX147" fmla="*/ 3869224 w 8009775"/>
              <a:gd name="connsiteY147" fmla="*/ 2341880 h 6858001"/>
              <a:gd name="connsiteX148" fmla="*/ 3874544 w 8009775"/>
              <a:gd name="connsiteY148" fmla="*/ 2344738 h 6858001"/>
              <a:gd name="connsiteX149" fmla="*/ 3879864 w 8009775"/>
              <a:gd name="connsiteY149" fmla="*/ 2347595 h 6858001"/>
              <a:gd name="connsiteX150" fmla="*/ 3885775 w 8009775"/>
              <a:gd name="connsiteY150" fmla="*/ 2349818 h 6858001"/>
              <a:gd name="connsiteX151" fmla="*/ 3891096 w 8009775"/>
              <a:gd name="connsiteY151" fmla="*/ 2351723 h 6858001"/>
              <a:gd name="connsiteX152" fmla="*/ 3896711 w 8009775"/>
              <a:gd name="connsiteY152" fmla="*/ 2353628 h 6858001"/>
              <a:gd name="connsiteX153" fmla="*/ 3902623 w 8009775"/>
              <a:gd name="connsiteY153" fmla="*/ 2355534 h 6858001"/>
              <a:gd name="connsiteX154" fmla="*/ 3908238 w 8009775"/>
              <a:gd name="connsiteY154" fmla="*/ 2356485 h 6858001"/>
              <a:gd name="connsiteX155" fmla="*/ 3914150 w 8009775"/>
              <a:gd name="connsiteY155" fmla="*/ 2357755 h 6858001"/>
              <a:gd name="connsiteX156" fmla="*/ 3920061 w 8009775"/>
              <a:gd name="connsiteY156" fmla="*/ 2358391 h 6858001"/>
              <a:gd name="connsiteX157" fmla="*/ 3925972 w 8009775"/>
              <a:gd name="connsiteY157" fmla="*/ 2358708 h 6858001"/>
              <a:gd name="connsiteX158" fmla="*/ 3931883 w 8009775"/>
              <a:gd name="connsiteY158" fmla="*/ 2358708 h 6858001"/>
              <a:gd name="connsiteX159" fmla="*/ 3937795 w 8009775"/>
              <a:gd name="connsiteY159" fmla="*/ 2358708 h 6858001"/>
              <a:gd name="connsiteX160" fmla="*/ 3943706 w 8009775"/>
              <a:gd name="connsiteY160" fmla="*/ 2358391 h 6858001"/>
              <a:gd name="connsiteX161" fmla="*/ 3949617 w 8009775"/>
              <a:gd name="connsiteY161" fmla="*/ 2357755 h 6858001"/>
              <a:gd name="connsiteX162" fmla="*/ 3955233 w 8009775"/>
              <a:gd name="connsiteY162" fmla="*/ 2356485 h 6858001"/>
              <a:gd name="connsiteX163" fmla="*/ 3961144 w 8009775"/>
              <a:gd name="connsiteY163" fmla="*/ 2355534 h 6858001"/>
              <a:gd name="connsiteX164" fmla="*/ 3966760 w 8009775"/>
              <a:gd name="connsiteY164" fmla="*/ 2353628 h 6858001"/>
              <a:gd name="connsiteX165" fmla="*/ 3972671 w 8009775"/>
              <a:gd name="connsiteY165" fmla="*/ 2351723 h 6858001"/>
              <a:gd name="connsiteX166" fmla="*/ 3978287 w 8009775"/>
              <a:gd name="connsiteY166" fmla="*/ 2349818 h 6858001"/>
              <a:gd name="connsiteX167" fmla="*/ 3983607 w 8009775"/>
              <a:gd name="connsiteY167" fmla="*/ 2347595 h 6858001"/>
              <a:gd name="connsiteX168" fmla="*/ 3989223 w 8009775"/>
              <a:gd name="connsiteY168" fmla="*/ 2344738 h 6858001"/>
              <a:gd name="connsiteX169" fmla="*/ 3994543 w 8009775"/>
              <a:gd name="connsiteY169" fmla="*/ 2341880 h 6858001"/>
              <a:gd name="connsiteX170" fmla="*/ 3999567 w 8009775"/>
              <a:gd name="connsiteY170" fmla="*/ 2338705 h 6858001"/>
              <a:gd name="connsiteX171" fmla="*/ 4004888 w 8009775"/>
              <a:gd name="connsiteY171" fmla="*/ 2334895 h 6858001"/>
              <a:gd name="connsiteX172" fmla="*/ 4009617 w 8009775"/>
              <a:gd name="connsiteY172" fmla="*/ 2331085 h 6858001"/>
              <a:gd name="connsiteX173" fmla="*/ 4014346 w 8009775"/>
              <a:gd name="connsiteY173" fmla="*/ 2326958 h 6858001"/>
              <a:gd name="connsiteX174" fmla="*/ 4018779 w 8009775"/>
              <a:gd name="connsiteY174" fmla="*/ 2322830 h 6858001"/>
              <a:gd name="connsiteX175" fmla="*/ 4023213 w 8009775"/>
              <a:gd name="connsiteY175" fmla="*/ 2318068 h 6858001"/>
              <a:gd name="connsiteX176" fmla="*/ 4027646 w 8009775"/>
              <a:gd name="connsiteY176" fmla="*/ 2313306 h 6858001"/>
              <a:gd name="connsiteX177" fmla="*/ 4031193 w 8009775"/>
              <a:gd name="connsiteY177" fmla="*/ 2308544 h 6858001"/>
              <a:gd name="connsiteX178" fmla="*/ 4034740 w 8009775"/>
              <a:gd name="connsiteY178" fmla="*/ 2303463 h 6858001"/>
              <a:gd name="connsiteX179" fmla="*/ 4037991 w 8009775"/>
              <a:gd name="connsiteY179" fmla="*/ 2298384 h 6858001"/>
              <a:gd name="connsiteX180" fmla="*/ 4040946 w 8009775"/>
              <a:gd name="connsiteY180" fmla="*/ 2292985 h 6858001"/>
              <a:gd name="connsiteX181" fmla="*/ 4043606 w 8009775"/>
              <a:gd name="connsiteY181" fmla="*/ 2287588 h 6858001"/>
              <a:gd name="connsiteX182" fmla="*/ 4046267 w 8009775"/>
              <a:gd name="connsiteY182" fmla="*/ 2281873 h 6858001"/>
              <a:gd name="connsiteX183" fmla="*/ 4048040 w 8009775"/>
              <a:gd name="connsiteY183" fmla="*/ 2276476 h 6858001"/>
              <a:gd name="connsiteX184" fmla="*/ 4050109 w 8009775"/>
              <a:gd name="connsiteY184" fmla="*/ 2270761 h 6858001"/>
              <a:gd name="connsiteX185" fmla="*/ 4051587 w 8009775"/>
              <a:gd name="connsiteY185" fmla="*/ 2265046 h 6858001"/>
              <a:gd name="connsiteX186" fmla="*/ 4052769 w 8009775"/>
              <a:gd name="connsiteY186" fmla="*/ 2259331 h 6858001"/>
              <a:gd name="connsiteX187" fmla="*/ 4053656 w 8009775"/>
              <a:gd name="connsiteY187" fmla="*/ 2253298 h 6858001"/>
              <a:gd name="connsiteX188" fmla="*/ 4054542 w 8009775"/>
              <a:gd name="connsiteY188" fmla="*/ 2247266 h 6858001"/>
              <a:gd name="connsiteX189" fmla="*/ 4054838 w 8009775"/>
              <a:gd name="connsiteY189" fmla="*/ 2241551 h 6858001"/>
              <a:gd name="connsiteX190" fmla="*/ 4055133 w 8009775"/>
              <a:gd name="connsiteY190" fmla="*/ 2235519 h 6858001"/>
              <a:gd name="connsiteX191" fmla="*/ 4054838 w 8009775"/>
              <a:gd name="connsiteY191" fmla="*/ 2229804 h 6858001"/>
              <a:gd name="connsiteX192" fmla="*/ 4054542 w 8009775"/>
              <a:gd name="connsiteY192" fmla="*/ 2223770 h 6858001"/>
              <a:gd name="connsiteX193" fmla="*/ 4053656 w 8009775"/>
              <a:gd name="connsiteY193" fmla="*/ 2217739 h 6858001"/>
              <a:gd name="connsiteX194" fmla="*/ 4052769 w 8009775"/>
              <a:gd name="connsiteY194" fmla="*/ 2212024 h 6858001"/>
              <a:gd name="connsiteX195" fmla="*/ 4051587 w 8009775"/>
              <a:gd name="connsiteY195" fmla="*/ 2206309 h 6858001"/>
              <a:gd name="connsiteX196" fmla="*/ 4050109 w 8009775"/>
              <a:gd name="connsiteY196" fmla="*/ 2200593 h 6858001"/>
              <a:gd name="connsiteX197" fmla="*/ 4048040 w 8009775"/>
              <a:gd name="connsiteY197" fmla="*/ 2194878 h 6858001"/>
              <a:gd name="connsiteX198" fmla="*/ 4046267 w 8009775"/>
              <a:gd name="connsiteY198" fmla="*/ 2189163 h 6858001"/>
              <a:gd name="connsiteX199" fmla="*/ 4043606 w 8009775"/>
              <a:gd name="connsiteY199" fmla="*/ 2183765 h 6858001"/>
              <a:gd name="connsiteX200" fmla="*/ 4040946 w 8009775"/>
              <a:gd name="connsiteY200" fmla="*/ 2178368 h 6858001"/>
              <a:gd name="connsiteX201" fmla="*/ 4037991 w 8009775"/>
              <a:gd name="connsiteY201" fmla="*/ 2172970 h 6858001"/>
              <a:gd name="connsiteX202" fmla="*/ 4034740 w 8009775"/>
              <a:gd name="connsiteY202" fmla="*/ 2167890 h 6858001"/>
              <a:gd name="connsiteX203" fmla="*/ 4031193 w 8009775"/>
              <a:gd name="connsiteY203" fmla="*/ 2162494 h 6858001"/>
              <a:gd name="connsiteX204" fmla="*/ 4027646 w 8009775"/>
              <a:gd name="connsiteY204" fmla="*/ 2157730 h 6858001"/>
              <a:gd name="connsiteX205" fmla="*/ 4023213 w 8009775"/>
              <a:gd name="connsiteY205" fmla="*/ 2153285 h 6858001"/>
              <a:gd name="connsiteX206" fmla="*/ 4018779 w 8009775"/>
              <a:gd name="connsiteY206" fmla="*/ 2148523 h 6858001"/>
              <a:gd name="connsiteX207" fmla="*/ 3632182 w 8009775"/>
              <a:gd name="connsiteY207" fmla="*/ 1761490 h 6858001"/>
              <a:gd name="connsiteX208" fmla="*/ 3435928 w 8009775"/>
              <a:gd name="connsiteY208" fmla="*/ 1565276 h 6858001"/>
              <a:gd name="connsiteX209" fmla="*/ 3431198 w 8009775"/>
              <a:gd name="connsiteY209" fmla="*/ 1560514 h 6858001"/>
              <a:gd name="connsiteX210" fmla="*/ 3427356 w 8009775"/>
              <a:gd name="connsiteY210" fmla="*/ 1555751 h 6858001"/>
              <a:gd name="connsiteX211" fmla="*/ 3423218 w 8009775"/>
              <a:gd name="connsiteY211" fmla="*/ 1550671 h 6858001"/>
              <a:gd name="connsiteX212" fmla="*/ 3420262 w 8009775"/>
              <a:gd name="connsiteY212" fmla="*/ 1545909 h 6858001"/>
              <a:gd name="connsiteX213" fmla="*/ 3417012 w 8009775"/>
              <a:gd name="connsiteY213" fmla="*/ 1540829 h 6858001"/>
              <a:gd name="connsiteX214" fmla="*/ 3413760 w 8009775"/>
              <a:gd name="connsiteY214" fmla="*/ 1535430 h 6858001"/>
              <a:gd name="connsiteX215" fmla="*/ 3411100 w 8009775"/>
              <a:gd name="connsiteY215" fmla="*/ 1530034 h 6858001"/>
              <a:gd name="connsiteX216" fmla="*/ 3408736 w 8009775"/>
              <a:gd name="connsiteY216" fmla="*/ 1524635 h 6858001"/>
              <a:gd name="connsiteX217" fmla="*/ 3406371 w 8009775"/>
              <a:gd name="connsiteY217" fmla="*/ 1518920 h 6858001"/>
              <a:gd name="connsiteX218" fmla="*/ 3404598 w 8009775"/>
              <a:gd name="connsiteY218" fmla="*/ 1513205 h 6858001"/>
              <a:gd name="connsiteX219" fmla="*/ 3403120 w 8009775"/>
              <a:gd name="connsiteY219" fmla="*/ 1507174 h 6858001"/>
              <a:gd name="connsiteX220" fmla="*/ 3401938 w 8009775"/>
              <a:gd name="connsiteY220" fmla="*/ 1501459 h 6858001"/>
              <a:gd name="connsiteX221" fmla="*/ 3401051 w 8009775"/>
              <a:gd name="connsiteY221" fmla="*/ 1495744 h 6858001"/>
              <a:gd name="connsiteX222" fmla="*/ 3400460 w 8009775"/>
              <a:gd name="connsiteY222" fmla="*/ 1489710 h 6858001"/>
              <a:gd name="connsiteX223" fmla="*/ 3399869 w 8009775"/>
              <a:gd name="connsiteY223" fmla="*/ 1483995 h 6858001"/>
              <a:gd name="connsiteX224" fmla="*/ 3399573 w 8009775"/>
              <a:gd name="connsiteY224" fmla="*/ 1478281 h 6858001"/>
              <a:gd name="connsiteX225" fmla="*/ 3399869 w 8009775"/>
              <a:gd name="connsiteY225" fmla="*/ 1472249 h 6858001"/>
              <a:gd name="connsiteX226" fmla="*/ 3400460 w 8009775"/>
              <a:gd name="connsiteY226" fmla="*/ 1466215 h 6858001"/>
              <a:gd name="connsiteX227" fmla="*/ 3401051 w 8009775"/>
              <a:gd name="connsiteY227" fmla="*/ 1460183 h 6858001"/>
              <a:gd name="connsiteX228" fmla="*/ 3401938 w 8009775"/>
              <a:gd name="connsiteY228" fmla="*/ 1454468 h 6858001"/>
              <a:gd name="connsiteX229" fmla="*/ 3403120 w 8009775"/>
              <a:gd name="connsiteY229" fmla="*/ 1448754 h 6858001"/>
              <a:gd name="connsiteX230" fmla="*/ 3404598 w 8009775"/>
              <a:gd name="connsiteY230" fmla="*/ 1443039 h 6858001"/>
              <a:gd name="connsiteX231" fmla="*/ 3406371 w 8009775"/>
              <a:gd name="connsiteY231" fmla="*/ 1437324 h 6858001"/>
              <a:gd name="connsiteX232" fmla="*/ 3408736 w 8009775"/>
              <a:gd name="connsiteY232" fmla="*/ 1431609 h 6858001"/>
              <a:gd name="connsiteX233" fmla="*/ 3411100 w 8009775"/>
              <a:gd name="connsiteY233" fmla="*/ 1426211 h 6858001"/>
              <a:gd name="connsiteX234" fmla="*/ 3413760 w 8009775"/>
              <a:gd name="connsiteY234" fmla="*/ 1420814 h 6858001"/>
              <a:gd name="connsiteX235" fmla="*/ 3417012 w 8009775"/>
              <a:gd name="connsiteY235" fmla="*/ 1415416 h 6858001"/>
              <a:gd name="connsiteX236" fmla="*/ 3420262 w 8009775"/>
              <a:gd name="connsiteY236" fmla="*/ 1410336 h 6858001"/>
              <a:gd name="connsiteX237" fmla="*/ 3423218 w 8009775"/>
              <a:gd name="connsiteY237" fmla="*/ 1405256 h 6858001"/>
              <a:gd name="connsiteX238" fmla="*/ 3427356 w 8009775"/>
              <a:gd name="connsiteY238" fmla="*/ 1400175 h 6858001"/>
              <a:gd name="connsiteX239" fmla="*/ 3431198 w 8009775"/>
              <a:gd name="connsiteY239" fmla="*/ 1395731 h 6858001"/>
              <a:gd name="connsiteX240" fmla="*/ 3435928 w 8009775"/>
              <a:gd name="connsiteY240" fmla="*/ 1390969 h 6858001"/>
              <a:gd name="connsiteX241" fmla="*/ 3440361 w 8009775"/>
              <a:gd name="connsiteY241" fmla="*/ 1386524 h 6858001"/>
              <a:gd name="connsiteX242" fmla="*/ 3445386 w 8009775"/>
              <a:gd name="connsiteY242" fmla="*/ 1382396 h 6858001"/>
              <a:gd name="connsiteX243" fmla="*/ 3449819 w 8009775"/>
              <a:gd name="connsiteY243" fmla="*/ 1378585 h 6858001"/>
              <a:gd name="connsiteX244" fmla="*/ 3454844 w 8009775"/>
              <a:gd name="connsiteY244" fmla="*/ 1375094 h 6858001"/>
              <a:gd name="connsiteX245" fmla="*/ 3460459 w 8009775"/>
              <a:gd name="connsiteY245" fmla="*/ 1371919 h 6858001"/>
              <a:gd name="connsiteX246" fmla="*/ 3465780 w 8009775"/>
              <a:gd name="connsiteY246" fmla="*/ 1369061 h 6858001"/>
              <a:gd name="connsiteX247" fmla="*/ 3471100 w 8009775"/>
              <a:gd name="connsiteY247" fmla="*/ 1366204 h 6858001"/>
              <a:gd name="connsiteX248" fmla="*/ 3476420 w 8009775"/>
              <a:gd name="connsiteY248" fmla="*/ 1363980 h 6858001"/>
              <a:gd name="connsiteX249" fmla="*/ 3482331 w 8009775"/>
              <a:gd name="connsiteY249" fmla="*/ 1361759 h 6858001"/>
              <a:gd name="connsiteX250" fmla="*/ 3487947 w 8009775"/>
              <a:gd name="connsiteY250" fmla="*/ 1360170 h 6858001"/>
              <a:gd name="connsiteX251" fmla="*/ 3493858 w 8009775"/>
              <a:gd name="connsiteY251" fmla="*/ 1358265 h 6858001"/>
              <a:gd name="connsiteX252" fmla="*/ 3499474 w 8009775"/>
              <a:gd name="connsiteY252" fmla="*/ 1357314 h 6858001"/>
              <a:gd name="connsiteX253" fmla="*/ 3505385 w 8009775"/>
              <a:gd name="connsiteY253" fmla="*/ 1356043 h 6858001"/>
              <a:gd name="connsiteX254" fmla="*/ 3511001 w 8009775"/>
              <a:gd name="connsiteY254" fmla="*/ 1355409 h 6858001"/>
              <a:gd name="connsiteX255" fmla="*/ 3517208 w 8009775"/>
              <a:gd name="connsiteY255" fmla="*/ 1355090 h 6858001"/>
              <a:gd name="connsiteX256" fmla="*/ 3522823 w 8009775"/>
              <a:gd name="connsiteY256" fmla="*/ 1354773 h 6858001"/>
              <a:gd name="connsiteX257" fmla="*/ 3529030 w 8009775"/>
              <a:gd name="connsiteY257" fmla="*/ 1355090 h 6858001"/>
              <a:gd name="connsiteX258" fmla="*/ 3534646 w 8009775"/>
              <a:gd name="connsiteY258" fmla="*/ 1355409 h 6858001"/>
              <a:gd name="connsiteX259" fmla="*/ 3540557 w 8009775"/>
              <a:gd name="connsiteY259" fmla="*/ 1356043 h 6858001"/>
              <a:gd name="connsiteX260" fmla="*/ 3546468 w 8009775"/>
              <a:gd name="connsiteY260" fmla="*/ 1357314 h 6858001"/>
              <a:gd name="connsiteX261" fmla="*/ 3552380 w 8009775"/>
              <a:gd name="connsiteY261" fmla="*/ 1358265 h 6858001"/>
              <a:gd name="connsiteX262" fmla="*/ 3557995 w 8009775"/>
              <a:gd name="connsiteY262" fmla="*/ 1360170 h 6858001"/>
              <a:gd name="connsiteX263" fmla="*/ 3563906 w 8009775"/>
              <a:gd name="connsiteY263" fmla="*/ 1361759 h 6858001"/>
              <a:gd name="connsiteX264" fmla="*/ 3569227 w 8009775"/>
              <a:gd name="connsiteY264" fmla="*/ 1363980 h 6858001"/>
              <a:gd name="connsiteX265" fmla="*/ 3574842 w 8009775"/>
              <a:gd name="connsiteY265" fmla="*/ 1366204 h 6858001"/>
              <a:gd name="connsiteX266" fmla="*/ 3580458 w 8009775"/>
              <a:gd name="connsiteY266" fmla="*/ 1369061 h 6858001"/>
              <a:gd name="connsiteX267" fmla="*/ 3585778 w 8009775"/>
              <a:gd name="connsiteY267" fmla="*/ 1371919 h 6858001"/>
              <a:gd name="connsiteX268" fmla="*/ 3590803 w 8009775"/>
              <a:gd name="connsiteY268" fmla="*/ 1375094 h 6858001"/>
              <a:gd name="connsiteX269" fmla="*/ 3595828 w 8009775"/>
              <a:gd name="connsiteY269" fmla="*/ 1378585 h 6858001"/>
              <a:gd name="connsiteX270" fmla="*/ 3600852 w 8009775"/>
              <a:gd name="connsiteY270" fmla="*/ 1382396 h 6858001"/>
              <a:gd name="connsiteX271" fmla="*/ 3605581 w 8009775"/>
              <a:gd name="connsiteY271" fmla="*/ 1386524 h 6858001"/>
              <a:gd name="connsiteX272" fmla="*/ 3610014 w 8009775"/>
              <a:gd name="connsiteY272" fmla="*/ 1390969 h 6858001"/>
              <a:gd name="connsiteX273" fmla="*/ 3817500 w 8009775"/>
              <a:gd name="connsiteY273" fmla="*/ 1598296 h 6858001"/>
              <a:gd name="connsiteX274" fmla="*/ 3821934 w 8009775"/>
              <a:gd name="connsiteY274" fmla="*/ 1602423 h 6858001"/>
              <a:gd name="connsiteX275" fmla="*/ 3826663 w 8009775"/>
              <a:gd name="connsiteY275" fmla="*/ 1606869 h 6858001"/>
              <a:gd name="connsiteX276" fmla="*/ 3831687 w 8009775"/>
              <a:gd name="connsiteY276" fmla="*/ 1610361 h 6858001"/>
              <a:gd name="connsiteX277" fmla="*/ 3836712 w 8009775"/>
              <a:gd name="connsiteY277" fmla="*/ 1613854 h 6858001"/>
              <a:gd name="connsiteX278" fmla="*/ 3841736 w 8009775"/>
              <a:gd name="connsiteY278" fmla="*/ 1617345 h 6858001"/>
              <a:gd name="connsiteX279" fmla="*/ 3847352 w 8009775"/>
              <a:gd name="connsiteY279" fmla="*/ 1620204 h 6858001"/>
              <a:gd name="connsiteX280" fmla="*/ 3852672 w 8009775"/>
              <a:gd name="connsiteY280" fmla="*/ 1623061 h 6858001"/>
              <a:gd name="connsiteX281" fmla="*/ 3857992 w 8009775"/>
              <a:gd name="connsiteY281" fmla="*/ 1625283 h 6858001"/>
              <a:gd name="connsiteX282" fmla="*/ 3863608 w 8009775"/>
              <a:gd name="connsiteY282" fmla="*/ 1627189 h 6858001"/>
              <a:gd name="connsiteX283" fmla="*/ 3869519 w 8009775"/>
              <a:gd name="connsiteY283" fmla="*/ 1629094 h 6858001"/>
              <a:gd name="connsiteX284" fmla="*/ 3875135 w 8009775"/>
              <a:gd name="connsiteY284" fmla="*/ 1630998 h 6858001"/>
              <a:gd name="connsiteX285" fmla="*/ 3881046 w 8009775"/>
              <a:gd name="connsiteY285" fmla="*/ 1631950 h 6858001"/>
              <a:gd name="connsiteX286" fmla="*/ 3886662 w 8009775"/>
              <a:gd name="connsiteY286" fmla="*/ 1632904 h 6858001"/>
              <a:gd name="connsiteX287" fmla="*/ 3892869 w 8009775"/>
              <a:gd name="connsiteY287" fmla="*/ 1633856 h 6858001"/>
              <a:gd name="connsiteX288" fmla="*/ 3898485 w 8009775"/>
              <a:gd name="connsiteY288" fmla="*/ 1634174 h 6858001"/>
              <a:gd name="connsiteX289" fmla="*/ 3904396 w 8009775"/>
              <a:gd name="connsiteY289" fmla="*/ 1634174 h 6858001"/>
              <a:gd name="connsiteX290" fmla="*/ 3910307 w 8009775"/>
              <a:gd name="connsiteY290" fmla="*/ 1634174 h 6858001"/>
              <a:gd name="connsiteX291" fmla="*/ 3916219 w 8009775"/>
              <a:gd name="connsiteY291" fmla="*/ 1633856 h 6858001"/>
              <a:gd name="connsiteX292" fmla="*/ 3922425 w 8009775"/>
              <a:gd name="connsiteY292" fmla="*/ 1632904 h 6858001"/>
              <a:gd name="connsiteX293" fmla="*/ 3928041 w 8009775"/>
              <a:gd name="connsiteY293" fmla="*/ 1631950 h 6858001"/>
              <a:gd name="connsiteX294" fmla="*/ 3933657 w 8009775"/>
              <a:gd name="connsiteY294" fmla="*/ 1630998 h 6858001"/>
              <a:gd name="connsiteX295" fmla="*/ 3939568 w 8009775"/>
              <a:gd name="connsiteY295" fmla="*/ 1629094 h 6858001"/>
              <a:gd name="connsiteX296" fmla="*/ 3945184 w 8009775"/>
              <a:gd name="connsiteY296" fmla="*/ 1627189 h 6858001"/>
              <a:gd name="connsiteX297" fmla="*/ 3950799 w 8009775"/>
              <a:gd name="connsiteY297" fmla="*/ 1625283 h 6858001"/>
              <a:gd name="connsiteX298" fmla="*/ 3956415 w 8009775"/>
              <a:gd name="connsiteY298" fmla="*/ 1623061 h 6858001"/>
              <a:gd name="connsiteX299" fmla="*/ 3961735 w 8009775"/>
              <a:gd name="connsiteY299" fmla="*/ 1620204 h 6858001"/>
              <a:gd name="connsiteX300" fmla="*/ 3967055 w 8009775"/>
              <a:gd name="connsiteY300" fmla="*/ 1617345 h 6858001"/>
              <a:gd name="connsiteX301" fmla="*/ 3972376 w 8009775"/>
              <a:gd name="connsiteY301" fmla="*/ 1613854 h 6858001"/>
              <a:gd name="connsiteX302" fmla="*/ 3977400 w 8009775"/>
              <a:gd name="connsiteY302" fmla="*/ 1610361 h 6858001"/>
              <a:gd name="connsiteX303" fmla="*/ 3982425 w 8009775"/>
              <a:gd name="connsiteY303" fmla="*/ 1606869 h 6858001"/>
              <a:gd name="connsiteX304" fmla="*/ 3986858 w 8009775"/>
              <a:gd name="connsiteY304" fmla="*/ 1602423 h 6858001"/>
              <a:gd name="connsiteX305" fmla="*/ 3991587 w 8009775"/>
              <a:gd name="connsiteY305" fmla="*/ 1598296 h 6858001"/>
              <a:gd name="connsiteX306" fmla="*/ 3996021 w 8009775"/>
              <a:gd name="connsiteY306" fmla="*/ 1593533 h 6858001"/>
              <a:gd name="connsiteX307" fmla="*/ 4000159 w 8009775"/>
              <a:gd name="connsiteY307" fmla="*/ 1588771 h 6858001"/>
              <a:gd name="connsiteX308" fmla="*/ 4003705 w 8009775"/>
              <a:gd name="connsiteY308" fmla="*/ 1583691 h 6858001"/>
              <a:gd name="connsiteX309" fmla="*/ 4007548 w 8009775"/>
              <a:gd name="connsiteY309" fmla="*/ 1578928 h 6858001"/>
              <a:gd name="connsiteX310" fmla="*/ 4010799 w 8009775"/>
              <a:gd name="connsiteY310" fmla="*/ 1573849 h 6858001"/>
              <a:gd name="connsiteX311" fmla="*/ 4013459 w 8009775"/>
              <a:gd name="connsiteY311" fmla="*/ 1568451 h 6858001"/>
              <a:gd name="connsiteX312" fmla="*/ 4016415 w 8009775"/>
              <a:gd name="connsiteY312" fmla="*/ 1563054 h 6858001"/>
              <a:gd name="connsiteX313" fmla="*/ 4018484 w 8009775"/>
              <a:gd name="connsiteY313" fmla="*/ 1557339 h 6858001"/>
              <a:gd name="connsiteX314" fmla="*/ 4020848 w 8009775"/>
              <a:gd name="connsiteY314" fmla="*/ 1551941 h 6858001"/>
              <a:gd name="connsiteX315" fmla="*/ 4022621 w 8009775"/>
              <a:gd name="connsiteY315" fmla="*/ 1546226 h 6858001"/>
              <a:gd name="connsiteX316" fmla="*/ 4024395 w 8009775"/>
              <a:gd name="connsiteY316" fmla="*/ 1540511 h 6858001"/>
              <a:gd name="connsiteX317" fmla="*/ 4025282 w 8009775"/>
              <a:gd name="connsiteY317" fmla="*/ 1534478 h 6858001"/>
              <a:gd name="connsiteX318" fmla="*/ 4026464 w 8009775"/>
              <a:gd name="connsiteY318" fmla="*/ 1528763 h 6858001"/>
              <a:gd name="connsiteX319" fmla="*/ 4027055 w 8009775"/>
              <a:gd name="connsiteY319" fmla="*/ 1522731 h 6858001"/>
              <a:gd name="connsiteX320" fmla="*/ 4027646 w 8009775"/>
              <a:gd name="connsiteY320" fmla="*/ 1517016 h 6858001"/>
              <a:gd name="connsiteX321" fmla="*/ 4027646 w 8009775"/>
              <a:gd name="connsiteY321" fmla="*/ 1510984 h 6858001"/>
              <a:gd name="connsiteX322" fmla="*/ 4027646 w 8009775"/>
              <a:gd name="connsiteY322" fmla="*/ 1505268 h 6858001"/>
              <a:gd name="connsiteX323" fmla="*/ 4027055 w 8009775"/>
              <a:gd name="connsiteY323" fmla="*/ 1499553 h 6858001"/>
              <a:gd name="connsiteX324" fmla="*/ 4026464 w 8009775"/>
              <a:gd name="connsiteY324" fmla="*/ 1493204 h 6858001"/>
              <a:gd name="connsiteX325" fmla="*/ 4025282 w 8009775"/>
              <a:gd name="connsiteY325" fmla="*/ 1487489 h 6858001"/>
              <a:gd name="connsiteX326" fmla="*/ 4024395 w 8009775"/>
              <a:gd name="connsiteY326" fmla="*/ 1481773 h 6858001"/>
              <a:gd name="connsiteX327" fmla="*/ 4022621 w 8009775"/>
              <a:gd name="connsiteY327" fmla="*/ 1476058 h 6858001"/>
              <a:gd name="connsiteX328" fmla="*/ 4020848 w 8009775"/>
              <a:gd name="connsiteY328" fmla="*/ 1470343 h 6858001"/>
              <a:gd name="connsiteX329" fmla="*/ 4018484 w 8009775"/>
              <a:gd name="connsiteY329" fmla="*/ 1464629 h 6858001"/>
              <a:gd name="connsiteX330" fmla="*/ 4016415 w 8009775"/>
              <a:gd name="connsiteY330" fmla="*/ 1459231 h 6858001"/>
              <a:gd name="connsiteX331" fmla="*/ 4013459 w 8009775"/>
              <a:gd name="connsiteY331" fmla="*/ 1453834 h 6858001"/>
              <a:gd name="connsiteX332" fmla="*/ 4010799 w 8009775"/>
              <a:gd name="connsiteY332" fmla="*/ 1448436 h 6858001"/>
              <a:gd name="connsiteX333" fmla="*/ 4007548 w 8009775"/>
              <a:gd name="connsiteY333" fmla="*/ 1443356 h 6858001"/>
              <a:gd name="connsiteX334" fmla="*/ 4003705 w 8009775"/>
              <a:gd name="connsiteY334" fmla="*/ 1438275 h 6858001"/>
              <a:gd name="connsiteX335" fmla="*/ 4000159 w 8009775"/>
              <a:gd name="connsiteY335" fmla="*/ 1433195 h 6858001"/>
              <a:gd name="connsiteX336" fmla="*/ 3996021 w 8009775"/>
              <a:gd name="connsiteY336" fmla="*/ 1428751 h 6858001"/>
              <a:gd name="connsiteX337" fmla="*/ 3991587 w 8009775"/>
              <a:gd name="connsiteY337" fmla="*/ 1423988 h 6858001"/>
              <a:gd name="connsiteX338" fmla="*/ 3323022 w 8009775"/>
              <a:gd name="connsiteY338" fmla="*/ 755333 h 6858001"/>
              <a:gd name="connsiteX339" fmla="*/ 3316815 w 8009775"/>
              <a:gd name="connsiteY339" fmla="*/ 748348 h 6858001"/>
              <a:gd name="connsiteX340" fmla="*/ 3310904 w 8009775"/>
              <a:gd name="connsiteY340" fmla="*/ 741045 h 6858001"/>
              <a:gd name="connsiteX341" fmla="*/ 3305584 w 8009775"/>
              <a:gd name="connsiteY341" fmla="*/ 733108 h 6858001"/>
              <a:gd name="connsiteX342" fmla="*/ 3300855 w 8009775"/>
              <a:gd name="connsiteY342" fmla="*/ 725170 h 6858001"/>
              <a:gd name="connsiteX343" fmla="*/ 3297308 w 8009775"/>
              <a:gd name="connsiteY343" fmla="*/ 716915 h 6858001"/>
              <a:gd name="connsiteX344" fmla="*/ 3293761 w 8009775"/>
              <a:gd name="connsiteY344" fmla="*/ 708660 h 6858001"/>
              <a:gd name="connsiteX345" fmla="*/ 3291101 w 8009775"/>
              <a:gd name="connsiteY345" fmla="*/ 699770 h 6858001"/>
              <a:gd name="connsiteX346" fmla="*/ 3289328 w 8009775"/>
              <a:gd name="connsiteY346" fmla="*/ 691198 h 6858001"/>
              <a:gd name="connsiteX347" fmla="*/ 2596527 w 8009775"/>
              <a:gd name="connsiteY347" fmla="*/ 0 h 6858001"/>
              <a:gd name="connsiteX0" fmla="*/ 2596527 w 8009775"/>
              <a:gd name="connsiteY0" fmla="*/ 0 h 6858000"/>
              <a:gd name="connsiteX1" fmla="*/ 2165004 w 8009775"/>
              <a:gd name="connsiteY1" fmla="*/ 0 h 6858000"/>
              <a:gd name="connsiteX2" fmla="*/ 3265978 w 8009775"/>
              <a:gd name="connsiteY2" fmla="*/ 1101091 h 6858000"/>
              <a:gd name="connsiteX3" fmla="*/ 3270708 w 8009775"/>
              <a:gd name="connsiteY3" fmla="*/ 1105854 h 6858000"/>
              <a:gd name="connsiteX4" fmla="*/ 3274550 w 8009775"/>
              <a:gd name="connsiteY4" fmla="*/ 1110615 h 6858000"/>
              <a:gd name="connsiteX5" fmla="*/ 3278688 w 8009775"/>
              <a:gd name="connsiteY5" fmla="*/ 1115696 h 6858000"/>
              <a:gd name="connsiteX6" fmla="*/ 3282234 w 8009775"/>
              <a:gd name="connsiteY6" fmla="*/ 1120776 h 6858000"/>
              <a:gd name="connsiteX7" fmla="*/ 3285486 w 8009775"/>
              <a:gd name="connsiteY7" fmla="*/ 1126174 h 6858000"/>
              <a:gd name="connsiteX8" fmla="*/ 3288146 w 8009775"/>
              <a:gd name="connsiteY8" fmla="*/ 1131570 h 6858000"/>
              <a:gd name="connsiteX9" fmla="*/ 3291101 w 8009775"/>
              <a:gd name="connsiteY9" fmla="*/ 1136968 h 6858000"/>
              <a:gd name="connsiteX10" fmla="*/ 3293761 w 8009775"/>
              <a:gd name="connsiteY10" fmla="*/ 1142366 h 6858000"/>
              <a:gd name="connsiteX11" fmla="*/ 3295830 w 8009775"/>
              <a:gd name="connsiteY11" fmla="*/ 1148081 h 6858000"/>
              <a:gd name="connsiteX12" fmla="*/ 3297604 w 8009775"/>
              <a:gd name="connsiteY12" fmla="*/ 1153796 h 6858000"/>
              <a:gd name="connsiteX13" fmla="*/ 3299082 w 8009775"/>
              <a:gd name="connsiteY13" fmla="*/ 1159829 h 6858000"/>
              <a:gd name="connsiteX14" fmla="*/ 3300559 w 8009775"/>
              <a:gd name="connsiteY14" fmla="*/ 1165544 h 6858000"/>
              <a:gd name="connsiteX15" fmla="*/ 3301446 w 8009775"/>
              <a:gd name="connsiteY15" fmla="*/ 1171893 h 6858000"/>
              <a:gd name="connsiteX16" fmla="*/ 3302333 w 8009775"/>
              <a:gd name="connsiteY16" fmla="*/ 1177608 h 6858000"/>
              <a:gd name="connsiteX17" fmla="*/ 3302628 w 8009775"/>
              <a:gd name="connsiteY17" fmla="*/ 1183641 h 6858000"/>
              <a:gd name="connsiteX18" fmla="*/ 3302628 w 8009775"/>
              <a:gd name="connsiteY18" fmla="*/ 1189356 h 6858000"/>
              <a:gd name="connsiteX19" fmla="*/ 3302628 w 8009775"/>
              <a:gd name="connsiteY19" fmla="*/ 1195388 h 6858000"/>
              <a:gd name="connsiteX20" fmla="*/ 3302333 w 8009775"/>
              <a:gd name="connsiteY20" fmla="*/ 1201739 h 6858000"/>
              <a:gd name="connsiteX21" fmla="*/ 3301446 w 8009775"/>
              <a:gd name="connsiteY21" fmla="*/ 1207454 h 6858000"/>
              <a:gd name="connsiteX22" fmla="*/ 3300559 w 8009775"/>
              <a:gd name="connsiteY22" fmla="*/ 1213486 h 6858000"/>
              <a:gd name="connsiteX23" fmla="*/ 3299082 w 8009775"/>
              <a:gd name="connsiteY23" fmla="*/ 1219200 h 6858000"/>
              <a:gd name="connsiteX24" fmla="*/ 3297604 w 8009775"/>
              <a:gd name="connsiteY24" fmla="*/ 1225233 h 6858000"/>
              <a:gd name="connsiteX25" fmla="*/ 3295830 w 8009775"/>
              <a:gd name="connsiteY25" fmla="*/ 1230949 h 6858000"/>
              <a:gd name="connsiteX26" fmla="*/ 3293761 w 8009775"/>
              <a:gd name="connsiteY26" fmla="*/ 1236346 h 6858000"/>
              <a:gd name="connsiteX27" fmla="*/ 3291101 w 8009775"/>
              <a:gd name="connsiteY27" fmla="*/ 1242061 h 6858000"/>
              <a:gd name="connsiteX28" fmla="*/ 3288146 w 8009775"/>
              <a:gd name="connsiteY28" fmla="*/ 1247459 h 6858000"/>
              <a:gd name="connsiteX29" fmla="*/ 3285486 w 8009775"/>
              <a:gd name="connsiteY29" fmla="*/ 1252855 h 6858000"/>
              <a:gd name="connsiteX30" fmla="*/ 3282234 w 8009775"/>
              <a:gd name="connsiteY30" fmla="*/ 1258254 h 6858000"/>
              <a:gd name="connsiteX31" fmla="*/ 3278688 w 8009775"/>
              <a:gd name="connsiteY31" fmla="*/ 1263333 h 6858000"/>
              <a:gd name="connsiteX32" fmla="*/ 3274550 w 8009775"/>
              <a:gd name="connsiteY32" fmla="*/ 1268413 h 6858000"/>
              <a:gd name="connsiteX33" fmla="*/ 3270708 w 8009775"/>
              <a:gd name="connsiteY33" fmla="*/ 1273494 h 6858000"/>
              <a:gd name="connsiteX34" fmla="*/ 3265978 w 8009775"/>
              <a:gd name="connsiteY34" fmla="*/ 1278255 h 6858000"/>
              <a:gd name="connsiteX35" fmla="*/ 3261249 w 8009775"/>
              <a:gd name="connsiteY35" fmla="*/ 1282384 h 6858000"/>
              <a:gd name="connsiteX36" fmla="*/ 3256816 w 8009775"/>
              <a:gd name="connsiteY36" fmla="*/ 1286510 h 6858000"/>
              <a:gd name="connsiteX37" fmla="*/ 3251791 w 8009775"/>
              <a:gd name="connsiteY37" fmla="*/ 1290321 h 6858000"/>
              <a:gd name="connsiteX38" fmla="*/ 3246767 w 8009775"/>
              <a:gd name="connsiteY38" fmla="*/ 1293814 h 6858000"/>
              <a:gd name="connsiteX39" fmla="*/ 3241151 w 8009775"/>
              <a:gd name="connsiteY39" fmla="*/ 1297306 h 6858000"/>
              <a:gd name="connsiteX40" fmla="*/ 3235831 w 8009775"/>
              <a:gd name="connsiteY40" fmla="*/ 1300481 h 6858000"/>
              <a:gd name="connsiteX41" fmla="*/ 3230511 w 8009775"/>
              <a:gd name="connsiteY41" fmla="*/ 1303021 h 6858000"/>
              <a:gd name="connsiteX42" fmla="*/ 3224600 w 8009775"/>
              <a:gd name="connsiteY42" fmla="*/ 1305560 h 6858000"/>
              <a:gd name="connsiteX43" fmla="*/ 3218984 w 8009775"/>
              <a:gd name="connsiteY43" fmla="*/ 1307465 h 6858000"/>
              <a:gd name="connsiteX44" fmla="*/ 3213072 w 8009775"/>
              <a:gd name="connsiteY44" fmla="*/ 1309371 h 6858000"/>
              <a:gd name="connsiteX45" fmla="*/ 3207457 w 8009775"/>
              <a:gd name="connsiteY45" fmla="*/ 1311275 h 6858000"/>
              <a:gd name="connsiteX46" fmla="*/ 3201841 w 8009775"/>
              <a:gd name="connsiteY46" fmla="*/ 1312228 h 6858000"/>
              <a:gd name="connsiteX47" fmla="*/ 3195634 w 8009775"/>
              <a:gd name="connsiteY47" fmla="*/ 1313180 h 6858000"/>
              <a:gd name="connsiteX48" fmla="*/ 3189428 w 8009775"/>
              <a:gd name="connsiteY48" fmla="*/ 1314133 h 6858000"/>
              <a:gd name="connsiteX49" fmla="*/ 3183812 w 8009775"/>
              <a:gd name="connsiteY49" fmla="*/ 1314450 h 6858000"/>
              <a:gd name="connsiteX50" fmla="*/ 3177605 w 8009775"/>
              <a:gd name="connsiteY50" fmla="*/ 1314769 h 6858000"/>
              <a:gd name="connsiteX51" fmla="*/ 3171694 w 8009775"/>
              <a:gd name="connsiteY51" fmla="*/ 1314450 h 6858000"/>
              <a:gd name="connsiteX52" fmla="*/ 3165782 w 8009775"/>
              <a:gd name="connsiteY52" fmla="*/ 1314133 h 6858000"/>
              <a:gd name="connsiteX53" fmla="*/ 3159576 w 8009775"/>
              <a:gd name="connsiteY53" fmla="*/ 1313180 h 6858000"/>
              <a:gd name="connsiteX54" fmla="*/ 3153960 w 8009775"/>
              <a:gd name="connsiteY54" fmla="*/ 1312228 h 6858000"/>
              <a:gd name="connsiteX55" fmla="*/ 3147753 w 8009775"/>
              <a:gd name="connsiteY55" fmla="*/ 1311275 h 6858000"/>
              <a:gd name="connsiteX56" fmla="*/ 3142137 w 8009775"/>
              <a:gd name="connsiteY56" fmla="*/ 1309371 h 6858000"/>
              <a:gd name="connsiteX57" fmla="*/ 3136226 w 8009775"/>
              <a:gd name="connsiteY57" fmla="*/ 1307465 h 6858000"/>
              <a:gd name="connsiteX58" fmla="*/ 3130610 w 8009775"/>
              <a:gd name="connsiteY58" fmla="*/ 1305560 h 6858000"/>
              <a:gd name="connsiteX59" fmla="*/ 3124994 w 8009775"/>
              <a:gd name="connsiteY59" fmla="*/ 1303021 h 6858000"/>
              <a:gd name="connsiteX60" fmla="*/ 3119379 w 8009775"/>
              <a:gd name="connsiteY60" fmla="*/ 1300481 h 6858000"/>
              <a:gd name="connsiteX61" fmla="*/ 3114059 w 8009775"/>
              <a:gd name="connsiteY61" fmla="*/ 1297306 h 6858000"/>
              <a:gd name="connsiteX62" fmla="*/ 3109034 w 8009775"/>
              <a:gd name="connsiteY62" fmla="*/ 1293814 h 6858000"/>
              <a:gd name="connsiteX63" fmla="*/ 3103714 w 8009775"/>
              <a:gd name="connsiteY63" fmla="*/ 1290321 h 6858000"/>
              <a:gd name="connsiteX64" fmla="*/ 3098689 w 8009775"/>
              <a:gd name="connsiteY64" fmla="*/ 1286510 h 6858000"/>
              <a:gd name="connsiteX65" fmla="*/ 3093960 w 8009775"/>
              <a:gd name="connsiteY65" fmla="*/ 1282384 h 6858000"/>
              <a:gd name="connsiteX66" fmla="*/ 3089231 w 8009775"/>
              <a:gd name="connsiteY66" fmla="*/ 1278255 h 6858000"/>
              <a:gd name="connsiteX67" fmla="*/ 1811214 w 8009775"/>
              <a:gd name="connsiteY67" fmla="*/ 0 h 6858000"/>
              <a:gd name="connsiteX68" fmla="*/ 0 w 8009775"/>
              <a:gd name="connsiteY68" fmla="*/ 0 h 6858000"/>
              <a:gd name="connsiteX69" fmla="*/ 0 w 8009775"/>
              <a:gd name="connsiteY69" fmla="*/ 6858000 h 6858000"/>
              <a:gd name="connsiteX70" fmla="*/ 8009775 w 8009775"/>
              <a:gd name="connsiteY70" fmla="*/ 6858000 h 6858000"/>
              <a:gd name="connsiteX71" fmla="*/ 3996316 w 8009775"/>
              <a:gd name="connsiteY71" fmla="*/ 2818448 h 6858000"/>
              <a:gd name="connsiteX72" fmla="*/ 3980947 w 8009775"/>
              <a:gd name="connsiteY72" fmla="*/ 2804795 h 6858000"/>
              <a:gd name="connsiteX73" fmla="*/ 3965282 w 8009775"/>
              <a:gd name="connsiteY73" fmla="*/ 2791144 h 6858000"/>
              <a:gd name="connsiteX74" fmla="*/ 3950799 w 8009775"/>
              <a:gd name="connsiteY74" fmla="*/ 2776856 h 6858000"/>
              <a:gd name="connsiteX75" fmla="*/ 3936021 w 8009775"/>
              <a:gd name="connsiteY75" fmla="*/ 2762568 h 6858000"/>
              <a:gd name="connsiteX76" fmla="*/ 3001744 w 8009775"/>
              <a:gd name="connsiteY76" fmla="*/ 1828166 h 6858000"/>
              <a:gd name="connsiteX77" fmla="*/ 2997311 w 8009775"/>
              <a:gd name="connsiteY77" fmla="*/ 1823404 h 6858000"/>
              <a:gd name="connsiteX78" fmla="*/ 2992878 w 8009775"/>
              <a:gd name="connsiteY78" fmla="*/ 1818640 h 6858000"/>
              <a:gd name="connsiteX79" fmla="*/ 2989331 w 8009775"/>
              <a:gd name="connsiteY79" fmla="*/ 1814195 h 6858000"/>
              <a:gd name="connsiteX80" fmla="*/ 2985784 w 8009775"/>
              <a:gd name="connsiteY80" fmla="*/ 1808799 h 6858000"/>
              <a:gd name="connsiteX81" fmla="*/ 2982533 w 8009775"/>
              <a:gd name="connsiteY81" fmla="*/ 1803718 h 6858000"/>
              <a:gd name="connsiteX82" fmla="*/ 2979873 w 8009775"/>
              <a:gd name="connsiteY82" fmla="*/ 1798321 h 6858000"/>
              <a:gd name="connsiteX83" fmla="*/ 2976917 w 8009775"/>
              <a:gd name="connsiteY83" fmla="*/ 1792924 h 6858000"/>
              <a:gd name="connsiteX84" fmla="*/ 2974552 w 8009775"/>
              <a:gd name="connsiteY84" fmla="*/ 1787526 h 6858000"/>
              <a:gd name="connsiteX85" fmla="*/ 2972484 w 8009775"/>
              <a:gd name="connsiteY85" fmla="*/ 1781811 h 6858000"/>
              <a:gd name="connsiteX86" fmla="*/ 2970710 w 8009775"/>
              <a:gd name="connsiteY86" fmla="*/ 1776095 h 6858000"/>
              <a:gd name="connsiteX87" fmla="*/ 2968937 w 8009775"/>
              <a:gd name="connsiteY87" fmla="*/ 1770380 h 6858000"/>
              <a:gd name="connsiteX88" fmla="*/ 2967755 w 8009775"/>
              <a:gd name="connsiteY88" fmla="*/ 1764665 h 6858000"/>
              <a:gd name="connsiteX89" fmla="*/ 2966868 w 8009775"/>
              <a:gd name="connsiteY89" fmla="*/ 1758634 h 6858000"/>
              <a:gd name="connsiteX90" fmla="*/ 2965981 w 8009775"/>
              <a:gd name="connsiteY90" fmla="*/ 1752919 h 6858000"/>
              <a:gd name="connsiteX91" fmla="*/ 2965686 w 8009775"/>
              <a:gd name="connsiteY91" fmla="*/ 1746885 h 6858000"/>
              <a:gd name="connsiteX92" fmla="*/ 2965686 w 8009775"/>
              <a:gd name="connsiteY92" fmla="*/ 1741170 h 6858000"/>
              <a:gd name="connsiteX93" fmla="*/ 2965686 w 8009775"/>
              <a:gd name="connsiteY93" fmla="*/ 1735139 h 6858000"/>
              <a:gd name="connsiteX94" fmla="*/ 2965981 w 8009775"/>
              <a:gd name="connsiteY94" fmla="*/ 1729424 h 6858000"/>
              <a:gd name="connsiteX95" fmla="*/ 2966868 w 8009775"/>
              <a:gd name="connsiteY95" fmla="*/ 1723074 h 6858000"/>
              <a:gd name="connsiteX96" fmla="*/ 2967755 w 8009775"/>
              <a:gd name="connsiteY96" fmla="*/ 1717358 h 6858000"/>
              <a:gd name="connsiteX97" fmla="*/ 2968937 w 8009775"/>
              <a:gd name="connsiteY97" fmla="*/ 1711643 h 6858000"/>
              <a:gd name="connsiteX98" fmla="*/ 2970710 w 8009775"/>
              <a:gd name="connsiteY98" fmla="*/ 1705929 h 6858000"/>
              <a:gd name="connsiteX99" fmla="*/ 2972484 w 8009775"/>
              <a:gd name="connsiteY99" fmla="*/ 1700214 h 6858000"/>
              <a:gd name="connsiteX100" fmla="*/ 2974552 w 8009775"/>
              <a:gd name="connsiteY100" fmla="*/ 1694816 h 6858000"/>
              <a:gd name="connsiteX101" fmla="*/ 2976917 w 8009775"/>
              <a:gd name="connsiteY101" fmla="*/ 1689101 h 6858000"/>
              <a:gd name="connsiteX102" fmla="*/ 2979873 w 8009775"/>
              <a:gd name="connsiteY102" fmla="*/ 1683703 h 6858000"/>
              <a:gd name="connsiteX103" fmla="*/ 2982533 w 8009775"/>
              <a:gd name="connsiteY103" fmla="*/ 1678305 h 6858000"/>
              <a:gd name="connsiteX104" fmla="*/ 2985784 w 8009775"/>
              <a:gd name="connsiteY104" fmla="*/ 1673226 h 6858000"/>
              <a:gd name="connsiteX105" fmla="*/ 2989331 w 8009775"/>
              <a:gd name="connsiteY105" fmla="*/ 1668145 h 6858000"/>
              <a:gd name="connsiteX106" fmla="*/ 2992878 w 8009775"/>
              <a:gd name="connsiteY106" fmla="*/ 1663066 h 6858000"/>
              <a:gd name="connsiteX107" fmla="*/ 2997311 w 8009775"/>
              <a:gd name="connsiteY107" fmla="*/ 1658621 h 6858000"/>
              <a:gd name="connsiteX108" fmla="*/ 3001744 w 8009775"/>
              <a:gd name="connsiteY108" fmla="*/ 1653859 h 6858000"/>
              <a:gd name="connsiteX109" fmla="*/ 3006178 w 8009775"/>
              <a:gd name="connsiteY109" fmla="*/ 1649414 h 6858000"/>
              <a:gd name="connsiteX110" fmla="*/ 3010907 w 8009775"/>
              <a:gd name="connsiteY110" fmla="*/ 1645603 h 6858000"/>
              <a:gd name="connsiteX111" fmla="*/ 3015932 w 8009775"/>
              <a:gd name="connsiteY111" fmla="*/ 1641794 h 6858000"/>
              <a:gd name="connsiteX112" fmla="*/ 3020956 w 8009775"/>
              <a:gd name="connsiteY112" fmla="*/ 1637984 h 6858000"/>
              <a:gd name="connsiteX113" fmla="*/ 3025981 w 8009775"/>
              <a:gd name="connsiteY113" fmla="*/ 1634809 h 6858000"/>
              <a:gd name="connsiteX114" fmla="*/ 3031596 w 8009775"/>
              <a:gd name="connsiteY114" fmla="*/ 1631950 h 6858000"/>
              <a:gd name="connsiteX115" fmla="*/ 3036916 w 8009775"/>
              <a:gd name="connsiteY115" fmla="*/ 1629094 h 6858000"/>
              <a:gd name="connsiteX116" fmla="*/ 3042532 w 8009775"/>
              <a:gd name="connsiteY116" fmla="*/ 1626871 h 6858000"/>
              <a:gd name="connsiteX117" fmla="*/ 3047852 w 8009775"/>
              <a:gd name="connsiteY117" fmla="*/ 1624649 h 6858000"/>
              <a:gd name="connsiteX118" fmla="*/ 3053764 w 8009775"/>
              <a:gd name="connsiteY118" fmla="*/ 1623061 h 6858000"/>
              <a:gd name="connsiteX119" fmla="*/ 3059379 w 8009775"/>
              <a:gd name="connsiteY119" fmla="*/ 1621155 h 6858000"/>
              <a:gd name="connsiteX120" fmla="*/ 3065291 w 8009775"/>
              <a:gd name="connsiteY120" fmla="*/ 1620204 h 6858000"/>
              <a:gd name="connsiteX121" fmla="*/ 3070906 w 8009775"/>
              <a:gd name="connsiteY121" fmla="*/ 1618934 h 6858000"/>
              <a:gd name="connsiteX122" fmla="*/ 3077113 w 8009775"/>
              <a:gd name="connsiteY122" fmla="*/ 1618299 h 6858000"/>
              <a:gd name="connsiteX123" fmla="*/ 3082729 w 8009775"/>
              <a:gd name="connsiteY123" fmla="*/ 1617981 h 6858000"/>
              <a:gd name="connsiteX124" fmla="*/ 3088936 w 8009775"/>
              <a:gd name="connsiteY124" fmla="*/ 1617981 h 6858000"/>
              <a:gd name="connsiteX125" fmla="*/ 3094552 w 8009775"/>
              <a:gd name="connsiteY125" fmla="*/ 1617981 h 6858000"/>
              <a:gd name="connsiteX126" fmla="*/ 3100758 w 8009775"/>
              <a:gd name="connsiteY126" fmla="*/ 1618299 h 6858000"/>
              <a:gd name="connsiteX127" fmla="*/ 3106670 w 8009775"/>
              <a:gd name="connsiteY127" fmla="*/ 1618934 h 6858000"/>
              <a:gd name="connsiteX128" fmla="*/ 3112285 w 8009775"/>
              <a:gd name="connsiteY128" fmla="*/ 1620204 h 6858000"/>
              <a:gd name="connsiteX129" fmla="*/ 3117901 w 8009775"/>
              <a:gd name="connsiteY129" fmla="*/ 1621155 h 6858000"/>
              <a:gd name="connsiteX130" fmla="*/ 3123812 w 8009775"/>
              <a:gd name="connsiteY130" fmla="*/ 1623061 h 6858000"/>
              <a:gd name="connsiteX131" fmla="*/ 3129428 w 8009775"/>
              <a:gd name="connsiteY131" fmla="*/ 1624649 h 6858000"/>
              <a:gd name="connsiteX132" fmla="*/ 3135339 w 8009775"/>
              <a:gd name="connsiteY132" fmla="*/ 1626871 h 6858000"/>
              <a:gd name="connsiteX133" fmla="*/ 3140660 w 8009775"/>
              <a:gd name="connsiteY133" fmla="*/ 1629094 h 6858000"/>
              <a:gd name="connsiteX134" fmla="*/ 3145980 w 8009775"/>
              <a:gd name="connsiteY134" fmla="*/ 1631950 h 6858000"/>
              <a:gd name="connsiteX135" fmla="*/ 3151300 w 8009775"/>
              <a:gd name="connsiteY135" fmla="*/ 1634809 h 6858000"/>
              <a:gd name="connsiteX136" fmla="*/ 3156324 w 8009775"/>
              <a:gd name="connsiteY136" fmla="*/ 1637984 h 6858000"/>
              <a:gd name="connsiteX137" fmla="*/ 3161349 w 8009775"/>
              <a:gd name="connsiteY137" fmla="*/ 1641794 h 6858000"/>
              <a:gd name="connsiteX138" fmla="*/ 3166374 w 8009775"/>
              <a:gd name="connsiteY138" fmla="*/ 1645603 h 6858000"/>
              <a:gd name="connsiteX139" fmla="*/ 3171102 w 8009775"/>
              <a:gd name="connsiteY139" fmla="*/ 1649414 h 6858000"/>
              <a:gd name="connsiteX140" fmla="*/ 3175832 w 8009775"/>
              <a:gd name="connsiteY140" fmla="*/ 1653859 h 6858000"/>
              <a:gd name="connsiteX141" fmla="*/ 3844692 w 8009775"/>
              <a:gd name="connsiteY141" fmla="*/ 2322830 h 6858000"/>
              <a:gd name="connsiteX142" fmla="*/ 3849421 w 8009775"/>
              <a:gd name="connsiteY142" fmla="*/ 2326958 h 6858000"/>
              <a:gd name="connsiteX143" fmla="*/ 3854150 w 8009775"/>
              <a:gd name="connsiteY143" fmla="*/ 2331085 h 6858000"/>
              <a:gd name="connsiteX144" fmla="*/ 3859175 w 8009775"/>
              <a:gd name="connsiteY144" fmla="*/ 2334895 h 6858000"/>
              <a:gd name="connsiteX145" fmla="*/ 3864199 w 8009775"/>
              <a:gd name="connsiteY145" fmla="*/ 2338705 h 6858000"/>
              <a:gd name="connsiteX146" fmla="*/ 3869224 w 8009775"/>
              <a:gd name="connsiteY146" fmla="*/ 2341880 h 6858000"/>
              <a:gd name="connsiteX147" fmla="*/ 3874544 w 8009775"/>
              <a:gd name="connsiteY147" fmla="*/ 2344738 h 6858000"/>
              <a:gd name="connsiteX148" fmla="*/ 3879864 w 8009775"/>
              <a:gd name="connsiteY148" fmla="*/ 2347595 h 6858000"/>
              <a:gd name="connsiteX149" fmla="*/ 3885775 w 8009775"/>
              <a:gd name="connsiteY149" fmla="*/ 2349818 h 6858000"/>
              <a:gd name="connsiteX150" fmla="*/ 3891096 w 8009775"/>
              <a:gd name="connsiteY150" fmla="*/ 2351723 h 6858000"/>
              <a:gd name="connsiteX151" fmla="*/ 3896711 w 8009775"/>
              <a:gd name="connsiteY151" fmla="*/ 2353628 h 6858000"/>
              <a:gd name="connsiteX152" fmla="*/ 3902623 w 8009775"/>
              <a:gd name="connsiteY152" fmla="*/ 2355534 h 6858000"/>
              <a:gd name="connsiteX153" fmla="*/ 3908238 w 8009775"/>
              <a:gd name="connsiteY153" fmla="*/ 2356485 h 6858000"/>
              <a:gd name="connsiteX154" fmla="*/ 3914150 w 8009775"/>
              <a:gd name="connsiteY154" fmla="*/ 2357755 h 6858000"/>
              <a:gd name="connsiteX155" fmla="*/ 3920061 w 8009775"/>
              <a:gd name="connsiteY155" fmla="*/ 2358391 h 6858000"/>
              <a:gd name="connsiteX156" fmla="*/ 3925972 w 8009775"/>
              <a:gd name="connsiteY156" fmla="*/ 2358708 h 6858000"/>
              <a:gd name="connsiteX157" fmla="*/ 3931883 w 8009775"/>
              <a:gd name="connsiteY157" fmla="*/ 2358708 h 6858000"/>
              <a:gd name="connsiteX158" fmla="*/ 3937795 w 8009775"/>
              <a:gd name="connsiteY158" fmla="*/ 2358708 h 6858000"/>
              <a:gd name="connsiteX159" fmla="*/ 3943706 w 8009775"/>
              <a:gd name="connsiteY159" fmla="*/ 2358391 h 6858000"/>
              <a:gd name="connsiteX160" fmla="*/ 3949617 w 8009775"/>
              <a:gd name="connsiteY160" fmla="*/ 2357755 h 6858000"/>
              <a:gd name="connsiteX161" fmla="*/ 3955233 w 8009775"/>
              <a:gd name="connsiteY161" fmla="*/ 2356485 h 6858000"/>
              <a:gd name="connsiteX162" fmla="*/ 3961144 w 8009775"/>
              <a:gd name="connsiteY162" fmla="*/ 2355534 h 6858000"/>
              <a:gd name="connsiteX163" fmla="*/ 3966760 w 8009775"/>
              <a:gd name="connsiteY163" fmla="*/ 2353628 h 6858000"/>
              <a:gd name="connsiteX164" fmla="*/ 3972671 w 8009775"/>
              <a:gd name="connsiteY164" fmla="*/ 2351723 h 6858000"/>
              <a:gd name="connsiteX165" fmla="*/ 3978287 w 8009775"/>
              <a:gd name="connsiteY165" fmla="*/ 2349818 h 6858000"/>
              <a:gd name="connsiteX166" fmla="*/ 3983607 w 8009775"/>
              <a:gd name="connsiteY166" fmla="*/ 2347595 h 6858000"/>
              <a:gd name="connsiteX167" fmla="*/ 3989223 w 8009775"/>
              <a:gd name="connsiteY167" fmla="*/ 2344738 h 6858000"/>
              <a:gd name="connsiteX168" fmla="*/ 3994543 w 8009775"/>
              <a:gd name="connsiteY168" fmla="*/ 2341880 h 6858000"/>
              <a:gd name="connsiteX169" fmla="*/ 3999567 w 8009775"/>
              <a:gd name="connsiteY169" fmla="*/ 2338705 h 6858000"/>
              <a:gd name="connsiteX170" fmla="*/ 4004888 w 8009775"/>
              <a:gd name="connsiteY170" fmla="*/ 2334895 h 6858000"/>
              <a:gd name="connsiteX171" fmla="*/ 4009617 w 8009775"/>
              <a:gd name="connsiteY171" fmla="*/ 2331085 h 6858000"/>
              <a:gd name="connsiteX172" fmla="*/ 4014346 w 8009775"/>
              <a:gd name="connsiteY172" fmla="*/ 2326958 h 6858000"/>
              <a:gd name="connsiteX173" fmla="*/ 4018779 w 8009775"/>
              <a:gd name="connsiteY173" fmla="*/ 2322830 h 6858000"/>
              <a:gd name="connsiteX174" fmla="*/ 4023213 w 8009775"/>
              <a:gd name="connsiteY174" fmla="*/ 2318068 h 6858000"/>
              <a:gd name="connsiteX175" fmla="*/ 4027646 w 8009775"/>
              <a:gd name="connsiteY175" fmla="*/ 2313306 h 6858000"/>
              <a:gd name="connsiteX176" fmla="*/ 4031193 w 8009775"/>
              <a:gd name="connsiteY176" fmla="*/ 2308544 h 6858000"/>
              <a:gd name="connsiteX177" fmla="*/ 4034740 w 8009775"/>
              <a:gd name="connsiteY177" fmla="*/ 2303463 h 6858000"/>
              <a:gd name="connsiteX178" fmla="*/ 4037991 w 8009775"/>
              <a:gd name="connsiteY178" fmla="*/ 2298384 h 6858000"/>
              <a:gd name="connsiteX179" fmla="*/ 4040946 w 8009775"/>
              <a:gd name="connsiteY179" fmla="*/ 2292985 h 6858000"/>
              <a:gd name="connsiteX180" fmla="*/ 4043606 w 8009775"/>
              <a:gd name="connsiteY180" fmla="*/ 2287588 h 6858000"/>
              <a:gd name="connsiteX181" fmla="*/ 4046267 w 8009775"/>
              <a:gd name="connsiteY181" fmla="*/ 2281873 h 6858000"/>
              <a:gd name="connsiteX182" fmla="*/ 4048040 w 8009775"/>
              <a:gd name="connsiteY182" fmla="*/ 2276476 h 6858000"/>
              <a:gd name="connsiteX183" fmla="*/ 4050109 w 8009775"/>
              <a:gd name="connsiteY183" fmla="*/ 2270761 h 6858000"/>
              <a:gd name="connsiteX184" fmla="*/ 4051587 w 8009775"/>
              <a:gd name="connsiteY184" fmla="*/ 2265046 h 6858000"/>
              <a:gd name="connsiteX185" fmla="*/ 4052769 w 8009775"/>
              <a:gd name="connsiteY185" fmla="*/ 2259331 h 6858000"/>
              <a:gd name="connsiteX186" fmla="*/ 4053656 w 8009775"/>
              <a:gd name="connsiteY186" fmla="*/ 2253298 h 6858000"/>
              <a:gd name="connsiteX187" fmla="*/ 4054542 w 8009775"/>
              <a:gd name="connsiteY187" fmla="*/ 2247266 h 6858000"/>
              <a:gd name="connsiteX188" fmla="*/ 4054838 w 8009775"/>
              <a:gd name="connsiteY188" fmla="*/ 2241551 h 6858000"/>
              <a:gd name="connsiteX189" fmla="*/ 4055133 w 8009775"/>
              <a:gd name="connsiteY189" fmla="*/ 2235519 h 6858000"/>
              <a:gd name="connsiteX190" fmla="*/ 4054838 w 8009775"/>
              <a:gd name="connsiteY190" fmla="*/ 2229804 h 6858000"/>
              <a:gd name="connsiteX191" fmla="*/ 4054542 w 8009775"/>
              <a:gd name="connsiteY191" fmla="*/ 2223770 h 6858000"/>
              <a:gd name="connsiteX192" fmla="*/ 4053656 w 8009775"/>
              <a:gd name="connsiteY192" fmla="*/ 2217739 h 6858000"/>
              <a:gd name="connsiteX193" fmla="*/ 4052769 w 8009775"/>
              <a:gd name="connsiteY193" fmla="*/ 2212024 h 6858000"/>
              <a:gd name="connsiteX194" fmla="*/ 4051587 w 8009775"/>
              <a:gd name="connsiteY194" fmla="*/ 2206309 h 6858000"/>
              <a:gd name="connsiteX195" fmla="*/ 4050109 w 8009775"/>
              <a:gd name="connsiteY195" fmla="*/ 2200593 h 6858000"/>
              <a:gd name="connsiteX196" fmla="*/ 4048040 w 8009775"/>
              <a:gd name="connsiteY196" fmla="*/ 2194878 h 6858000"/>
              <a:gd name="connsiteX197" fmla="*/ 4046267 w 8009775"/>
              <a:gd name="connsiteY197" fmla="*/ 2189163 h 6858000"/>
              <a:gd name="connsiteX198" fmla="*/ 4043606 w 8009775"/>
              <a:gd name="connsiteY198" fmla="*/ 2183765 h 6858000"/>
              <a:gd name="connsiteX199" fmla="*/ 4040946 w 8009775"/>
              <a:gd name="connsiteY199" fmla="*/ 2178368 h 6858000"/>
              <a:gd name="connsiteX200" fmla="*/ 4037991 w 8009775"/>
              <a:gd name="connsiteY200" fmla="*/ 2172970 h 6858000"/>
              <a:gd name="connsiteX201" fmla="*/ 4034740 w 8009775"/>
              <a:gd name="connsiteY201" fmla="*/ 2167890 h 6858000"/>
              <a:gd name="connsiteX202" fmla="*/ 4031193 w 8009775"/>
              <a:gd name="connsiteY202" fmla="*/ 2162494 h 6858000"/>
              <a:gd name="connsiteX203" fmla="*/ 4027646 w 8009775"/>
              <a:gd name="connsiteY203" fmla="*/ 2157730 h 6858000"/>
              <a:gd name="connsiteX204" fmla="*/ 4023213 w 8009775"/>
              <a:gd name="connsiteY204" fmla="*/ 2153285 h 6858000"/>
              <a:gd name="connsiteX205" fmla="*/ 4018779 w 8009775"/>
              <a:gd name="connsiteY205" fmla="*/ 2148523 h 6858000"/>
              <a:gd name="connsiteX206" fmla="*/ 3632182 w 8009775"/>
              <a:gd name="connsiteY206" fmla="*/ 1761490 h 6858000"/>
              <a:gd name="connsiteX207" fmla="*/ 3435928 w 8009775"/>
              <a:gd name="connsiteY207" fmla="*/ 1565276 h 6858000"/>
              <a:gd name="connsiteX208" fmla="*/ 3431198 w 8009775"/>
              <a:gd name="connsiteY208" fmla="*/ 1560514 h 6858000"/>
              <a:gd name="connsiteX209" fmla="*/ 3427356 w 8009775"/>
              <a:gd name="connsiteY209" fmla="*/ 1555751 h 6858000"/>
              <a:gd name="connsiteX210" fmla="*/ 3423218 w 8009775"/>
              <a:gd name="connsiteY210" fmla="*/ 1550671 h 6858000"/>
              <a:gd name="connsiteX211" fmla="*/ 3420262 w 8009775"/>
              <a:gd name="connsiteY211" fmla="*/ 1545909 h 6858000"/>
              <a:gd name="connsiteX212" fmla="*/ 3417012 w 8009775"/>
              <a:gd name="connsiteY212" fmla="*/ 1540829 h 6858000"/>
              <a:gd name="connsiteX213" fmla="*/ 3413760 w 8009775"/>
              <a:gd name="connsiteY213" fmla="*/ 1535430 h 6858000"/>
              <a:gd name="connsiteX214" fmla="*/ 3411100 w 8009775"/>
              <a:gd name="connsiteY214" fmla="*/ 1530034 h 6858000"/>
              <a:gd name="connsiteX215" fmla="*/ 3408736 w 8009775"/>
              <a:gd name="connsiteY215" fmla="*/ 1524635 h 6858000"/>
              <a:gd name="connsiteX216" fmla="*/ 3406371 w 8009775"/>
              <a:gd name="connsiteY216" fmla="*/ 1518920 h 6858000"/>
              <a:gd name="connsiteX217" fmla="*/ 3404598 w 8009775"/>
              <a:gd name="connsiteY217" fmla="*/ 1513205 h 6858000"/>
              <a:gd name="connsiteX218" fmla="*/ 3403120 w 8009775"/>
              <a:gd name="connsiteY218" fmla="*/ 1507174 h 6858000"/>
              <a:gd name="connsiteX219" fmla="*/ 3401938 w 8009775"/>
              <a:gd name="connsiteY219" fmla="*/ 1501459 h 6858000"/>
              <a:gd name="connsiteX220" fmla="*/ 3401051 w 8009775"/>
              <a:gd name="connsiteY220" fmla="*/ 1495744 h 6858000"/>
              <a:gd name="connsiteX221" fmla="*/ 3400460 w 8009775"/>
              <a:gd name="connsiteY221" fmla="*/ 1489710 h 6858000"/>
              <a:gd name="connsiteX222" fmla="*/ 3399869 w 8009775"/>
              <a:gd name="connsiteY222" fmla="*/ 1483995 h 6858000"/>
              <a:gd name="connsiteX223" fmla="*/ 3399573 w 8009775"/>
              <a:gd name="connsiteY223" fmla="*/ 1478281 h 6858000"/>
              <a:gd name="connsiteX224" fmla="*/ 3399869 w 8009775"/>
              <a:gd name="connsiteY224" fmla="*/ 1472249 h 6858000"/>
              <a:gd name="connsiteX225" fmla="*/ 3400460 w 8009775"/>
              <a:gd name="connsiteY225" fmla="*/ 1466215 h 6858000"/>
              <a:gd name="connsiteX226" fmla="*/ 3401051 w 8009775"/>
              <a:gd name="connsiteY226" fmla="*/ 1460183 h 6858000"/>
              <a:gd name="connsiteX227" fmla="*/ 3401938 w 8009775"/>
              <a:gd name="connsiteY227" fmla="*/ 1454468 h 6858000"/>
              <a:gd name="connsiteX228" fmla="*/ 3403120 w 8009775"/>
              <a:gd name="connsiteY228" fmla="*/ 1448754 h 6858000"/>
              <a:gd name="connsiteX229" fmla="*/ 3404598 w 8009775"/>
              <a:gd name="connsiteY229" fmla="*/ 1443039 h 6858000"/>
              <a:gd name="connsiteX230" fmla="*/ 3406371 w 8009775"/>
              <a:gd name="connsiteY230" fmla="*/ 1437324 h 6858000"/>
              <a:gd name="connsiteX231" fmla="*/ 3408736 w 8009775"/>
              <a:gd name="connsiteY231" fmla="*/ 1431609 h 6858000"/>
              <a:gd name="connsiteX232" fmla="*/ 3411100 w 8009775"/>
              <a:gd name="connsiteY232" fmla="*/ 1426211 h 6858000"/>
              <a:gd name="connsiteX233" fmla="*/ 3413760 w 8009775"/>
              <a:gd name="connsiteY233" fmla="*/ 1420814 h 6858000"/>
              <a:gd name="connsiteX234" fmla="*/ 3417012 w 8009775"/>
              <a:gd name="connsiteY234" fmla="*/ 1415416 h 6858000"/>
              <a:gd name="connsiteX235" fmla="*/ 3420262 w 8009775"/>
              <a:gd name="connsiteY235" fmla="*/ 1410336 h 6858000"/>
              <a:gd name="connsiteX236" fmla="*/ 3423218 w 8009775"/>
              <a:gd name="connsiteY236" fmla="*/ 1405256 h 6858000"/>
              <a:gd name="connsiteX237" fmla="*/ 3427356 w 8009775"/>
              <a:gd name="connsiteY237" fmla="*/ 1400175 h 6858000"/>
              <a:gd name="connsiteX238" fmla="*/ 3431198 w 8009775"/>
              <a:gd name="connsiteY238" fmla="*/ 1395731 h 6858000"/>
              <a:gd name="connsiteX239" fmla="*/ 3435928 w 8009775"/>
              <a:gd name="connsiteY239" fmla="*/ 1390969 h 6858000"/>
              <a:gd name="connsiteX240" fmla="*/ 3440361 w 8009775"/>
              <a:gd name="connsiteY240" fmla="*/ 1386524 h 6858000"/>
              <a:gd name="connsiteX241" fmla="*/ 3445386 w 8009775"/>
              <a:gd name="connsiteY241" fmla="*/ 1382396 h 6858000"/>
              <a:gd name="connsiteX242" fmla="*/ 3449819 w 8009775"/>
              <a:gd name="connsiteY242" fmla="*/ 1378585 h 6858000"/>
              <a:gd name="connsiteX243" fmla="*/ 3454844 w 8009775"/>
              <a:gd name="connsiteY243" fmla="*/ 1375094 h 6858000"/>
              <a:gd name="connsiteX244" fmla="*/ 3460459 w 8009775"/>
              <a:gd name="connsiteY244" fmla="*/ 1371919 h 6858000"/>
              <a:gd name="connsiteX245" fmla="*/ 3465780 w 8009775"/>
              <a:gd name="connsiteY245" fmla="*/ 1369061 h 6858000"/>
              <a:gd name="connsiteX246" fmla="*/ 3471100 w 8009775"/>
              <a:gd name="connsiteY246" fmla="*/ 1366204 h 6858000"/>
              <a:gd name="connsiteX247" fmla="*/ 3476420 w 8009775"/>
              <a:gd name="connsiteY247" fmla="*/ 1363980 h 6858000"/>
              <a:gd name="connsiteX248" fmla="*/ 3482331 w 8009775"/>
              <a:gd name="connsiteY248" fmla="*/ 1361759 h 6858000"/>
              <a:gd name="connsiteX249" fmla="*/ 3487947 w 8009775"/>
              <a:gd name="connsiteY249" fmla="*/ 1360170 h 6858000"/>
              <a:gd name="connsiteX250" fmla="*/ 3493858 w 8009775"/>
              <a:gd name="connsiteY250" fmla="*/ 1358265 h 6858000"/>
              <a:gd name="connsiteX251" fmla="*/ 3499474 w 8009775"/>
              <a:gd name="connsiteY251" fmla="*/ 1357314 h 6858000"/>
              <a:gd name="connsiteX252" fmla="*/ 3505385 w 8009775"/>
              <a:gd name="connsiteY252" fmla="*/ 1356043 h 6858000"/>
              <a:gd name="connsiteX253" fmla="*/ 3511001 w 8009775"/>
              <a:gd name="connsiteY253" fmla="*/ 1355409 h 6858000"/>
              <a:gd name="connsiteX254" fmla="*/ 3517208 w 8009775"/>
              <a:gd name="connsiteY254" fmla="*/ 1355090 h 6858000"/>
              <a:gd name="connsiteX255" fmla="*/ 3522823 w 8009775"/>
              <a:gd name="connsiteY255" fmla="*/ 1354773 h 6858000"/>
              <a:gd name="connsiteX256" fmla="*/ 3529030 w 8009775"/>
              <a:gd name="connsiteY256" fmla="*/ 1355090 h 6858000"/>
              <a:gd name="connsiteX257" fmla="*/ 3534646 w 8009775"/>
              <a:gd name="connsiteY257" fmla="*/ 1355409 h 6858000"/>
              <a:gd name="connsiteX258" fmla="*/ 3540557 w 8009775"/>
              <a:gd name="connsiteY258" fmla="*/ 1356043 h 6858000"/>
              <a:gd name="connsiteX259" fmla="*/ 3546468 w 8009775"/>
              <a:gd name="connsiteY259" fmla="*/ 1357314 h 6858000"/>
              <a:gd name="connsiteX260" fmla="*/ 3552380 w 8009775"/>
              <a:gd name="connsiteY260" fmla="*/ 1358265 h 6858000"/>
              <a:gd name="connsiteX261" fmla="*/ 3557995 w 8009775"/>
              <a:gd name="connsiteY261" fmla="*/ 1360170 h 6858000"/>
              <a:gd name="connsiteX262" fmla="*/ 3563906 w 8009775"/>
              <a:gd name="connsiteY262" fmla="*/ 1361759 h 6858000"/>
              <a:gd name="connsiteX263" fmla="*/ 3569227 w 8009775"/>
              <a:gd name="connsiteY263" fmla="*/ 1363980 h 6858000"/>
              <a:gd name="connsiteX264" fmla="*/ 3574842 w 8009775"/>
              <a:gd name="connsiteY264" fmla="*/ 1366204 h 6858000"/>
              <a:gd name="connsiteX265" fmla="*/ 3580458 w 8009775"/>
              <a:gd name="connsiteY265" fmla="*/ 1369061 h 6858000"/>
              <a:gd name="connsiteX266" fmla="*/ 3585778 w 8009775"/>
              <a:gd name="connsiteY266" fmla="*/ 1371919 h 6858000"/>
              <a:gd name="connsiteX267" fmla="*/ 3590803 w 8009775"/>
              <a:gd name="connsiteY267" fmla="*/ 1375094 h 6858000"/>
              <a:gd name="connsiteX268" fmla="*/ 3595828 w 8009775"/>
              <a:gd name="connsiteY268" fmla="*/ 1378585 h 6858000"/>
              <a:gd name="connsiteX269" fmla="*/ 3600852 w 8009775"/>
              <a:gd name="connsiteY269" fmla="*/ 1382396 h 6858000"/>
              <a:gd name="connsiteX270" fmla="*/ 3605581 w 8009775"/>
              <a:gd name="connsiteY270" fmla="*/ 1386524 h 6858000"/>
              <a:gd name="connsiteX271" fmla="*/ 3610014 w 8009775"/>
              <a:gd name="connsiteY271" fmla="*/ 1390969 h 6858000"/>
              <a:gd name="connsiteX272" fmla="*/ 3817500 w 8009775"/>
              <a:gd name="connsiteY272" fmla="*/ 1598296 h 6858000"/>
              <a:gd name="connsiteX273" fmla="*/ 3821934 w 8009775"/>
              <a:gd name="connsiteY273" fmla="*/ 1602423 h 6858000"/>
              <a:gd name="connsiteX274" fmla="*/ 3826663 w 8009775"/>
              <a:gd name="connsiteY274" fmla="*/ 1606869 h 6858000"/>
              <a:gd name="connsiteX275" fmla="*/ 3831687 w 8009775"/>
              <a:gd name="connsiteY275" fmla="*/ 1610361 h 6858000"/>
              <a:gd name="connsiteX276" fmla="*/ 3836712 w 8009775"/>
              <a:gd name="connsiteY276" fmla="*/ 1613854 h 6858000"/>
              <a:gd name="connsiteX277" fmla="*/ 3841736 w 8009775"/>
              <a:gd name="connsiteY277" fmla="*/ 1617345 h 6858000"/>
              <a:gd name="connsiteX278" fmla="*/ 3847352 w 8009775"/>
              <a:gd name="connsiteY278" fmla="*/ 1620204 h 6858000"/>
              <a:gd name="connsiteX279" fmla="*/ 3852672 w 8009775"/>
              <a:gd name="connsiteY279" fmla="*/ 1623061 h 6858000"/>
              <a:gd name="connsiteX280" fmla="*/ 3857992 w 8009775"/>
              <a:gd name="connsiteY280" fmla="*/ 1625283 h 6858000"/>
              <a:gd name="connsiteX281" fmla="*/ 3863608 w 8009775"/>
              <a:gd name="connsiteY281" fmla="*/ 1627189 h 6858000"/>
              <a:gd name="connsiteX282" fmla="*/ 3869519 w 8009775"/>
              <a:gd name="connsiteY282" fmla="*/ 1629094 h 6858000"/>
              <a:gd name="connsiteX283" fmla="*/ 3875135 w 8009775"/>
              <a:gd name="connsiteY283" fmla="*/ 1630998 h 6858000"/>
              <a:gd name="connsiteX284" fmla="*/ 3881046 w 8009775"/>
              <a:gd name="connsiteY284" fmla="*/ 1631950 h 6858000"/>
              <a:gd name="connsiteX285" fmla="*/ 3886662 w 8009775"/>
              <a:gd name="connsiteY285" fmla="*/ 1632904 h 6858000"/>
              <a:gd name="connsiteX286" fmla="*/ 3892869 w 8009775"/>
              <a:gd name="connsiteY286" fmla="*/ 1633856 h 6858000"/>
              <a:gd name="connsiteX287" fmla="*/ 3898485 w 8009775"/>
              <a:gd name="connsiteY287" fmla="*/ 1634174 h 6858000"/>
              <a:gd name="connsiteX288" fmla="*/ 3904396 w 8009775"/>
              <a:gd name="connsiteY288" fmla="*/ 1634174 h 6858000"/>
              <a:gd name="connsiteX289" fmla="*/ 3910307 w 8009775"/>
              <a:gd name="connsiteY289" fmla="*/ 1634174 h 6858000"/>
              <a:gd name="connsiteX290" fmla="*/ 3916219 w 8009775"/>
              <a:gd name="connsiteY290" fmla="*/ 1633856 h 6858000"/>
              <a:gd name="connsiteX291" fmla="*/ 3922425 w 8009775"/>
              <a:gd name="connsiteY291" fmla="*/ 1632904 h 6858000"/>
              <a:gd name="connsiteX292" fmla="*/ 3928041 w 8009775"/>
              <a:gd name="connsiteY292" fmla="*/ 1631950 h 6858000"/>
              <a:gd name="connsiteX293" fmla="*/ 3933657 w 8009775"/>
              <a:gd name="connsiteY293" fmla="*/ 1630998 h 6858000"/>
              <a:gd name="connsiteX294" fmla="*/ 3939568 w 8009775"/>
              <a:gd name="connsiteY294" fmla="*/ 1629094 h 6858000"/>
              <a:gd name="connsiteX295" fmla="*/ 3945184 w 8009775"/>
              <a:gd name="connsiteY295" fmla="*/ 1627189 h 6858000"/>
              <a:gd name="connsiteX296" fmla="*/ 3950799 w 8009775"/>
              <a:gd name="connsiteY296" fmla="*/ 1625283 h 6858000"/>
              <a:gd name="connsiteX297" fmla="*/ 3956415 w 8009775"/>
              <a:gd name="connsiteY297" fmla="*/ 1623061 h 6858000"/>
              <a:gd name="connsiteX298" fmla="*/ 3961735 w 8009775"/>
              <a:gd name="connsiteY298" fmla="*/ 1620204 h 6858000"/>
              <a:gd name="connsiteX299" fmla="*/ 3967055 w 8009775"/>
              <a:gd name="connsiteY299" fmla="*/ 1617345 h 6858000"/>
              <a:gd name="connsiteX300" fmla="*/ 3972376 w 8009775"/>
              <a:gd name="connsiteY300" fmla="*/ 1613854 h 6858000"/>
              <a:gd name="connsiteX301" fmla="*/ 3977400 w 8009775"/>
              <a:gd name="connsiteY301" fmla="*/ 1610361 h 6858000"/>
              <a:gd name="connsiteX302" fmla="*/ 3982425 w 8009775"/>
              <a:gd name="connsiteY302" fmla="*/ 1606869 h 6858000"/>
              <a:gd name="connsiteX303" fmla="*/ 3986858 w 8009775"/>
              <a:gd name="connsiteY303" fmla="*/ 1602423 h 6858000"/>
              <a:gd name="connsiteX304" fmla="*/ 3991587 w 8009775"/>
              <a:gd name="connsiteY304" fmla="*/ 1598296 h 6858000"/>
              <a:gd name="connsiteX305" fmla="*/ 3996021 w 8009775"/>
              <a:gd name="connsiteY305" fmla="*/ 1593533 h 6858000"/>
              <a:gd name="connsiteX306" fmla="*/ 4000159 w 8009775"/>
              <a:gd name="connsiteY306" fmla="*/ 1588771 h 6858000"/>
              <a:gd name="connsiteX307" fmla="*/ 4003705 w 8009775"/>
              <a:gd name="connsiteY307" fmla="*/ 1583691 h 6858000"/>
              <a:gd name="connsiteX308" fmla="*/ 4007548 w 8009775"/>
              <a:gd name="connsiteY308" fmla="*/ 1578928 h 6858000"/>
              <a:gd name="connsiteX309" fmla="*/ 4010799 w 8009775"/>
              <a:gd name="connsiteY309" fmla="*/ 1573849 h 6858000"/>
              <a:gd name="connsiteX310" fmla="*/ 4013459 w 8009775"/>
              <a:gd name="connsiteY310" fmla="*/ 1568451 h 6858000"/>
              <a:gd name="connsiteX311" fmla="*/ 4016415 w 8009775"/>
              <a:gd name="connsiteY311" fmla="*/ 1563054 h 6858000"/>
              <a:gd name="connsiteX312" fmla="*/ 4018484 w 8009775"/>
              <a:gd name="connsiteY312" fmla="*/ 1557339 h 6858000"/>
              <a:gd name="connsiteX313" fmla="*/ 4020848 w 8009775"/>
              <a:gd name="connsiteY313" fmla="*/ 1551941 h 6858000"/>
              <a:gd name="connsiteX314" fmla="*/ 4022621 w 8009775"/>
              <a:gd name="connsiteY314" fmla="*/ 1546226 h 6858000"/>
              <a:gd name="connsiteX315" fmla="*/ 4024395 w 8009775"/>
              <a:gd name="connsiteY315" fmla="*/ 1540511 h 6858000"/>
              <a:gd name="connsiteX316" fmla="*/ 4025282 w 8009775"/>
              <a:gd name="connsiteY316" fmla="*/ 1534478 h 6858000"/>
              <a:gd name="connsiteX317" fmla="*/ 4026464 w 8009775"/>
              <a:gd name="connsiteY317" fmla="*/ 1528763 h 6858000"/>
              <a:gd name="connsiteX318" fmla="*/ 4027055 w 8009775"/>
              <a:gd name="connsiteY318" fmla="*/ 1522731 h 6858000"/>
              <a:gd name="connsiteX319" fmla="*/ 4027646 w 8009775"/>
              <a:gd name="connsiteY319" fmla="*/ 1517016 h 6858000"/>
              <a:gd name="connsiteX320" fmla="*/ 4027646 w 8009775"/>
              <a:gd name="connsiteY320" fmla="*/ 1510984 h 6858000"/>
              <a:gd name="connsiteX321" fmla="*/ 4027646 w 8009775"/>
              <a:gd name="connsiteY321" fmla="*/ 1505268 h 6858000"/>
              <a:gd name="connsiteX322" fmla="*/ 4027055 w 8009775"/>
              <a:gd name="connsiteY322" fmla="*/ 1499553 h 6858000"/>
              <a:gd name="connsiteX323" fmla="*/ 4026464 w 8009775"/>
              <a:gd name="connsiteY323" fmla="*/ 1493204 h 6858000"/>
              <a:gd name="connsiteX324" fmla="*/ 4025282 w 8009775"/>
              <a:gd name="connsiteY324" fmla="*/ 1487489 h 6858000"/>
              <a:gd name="connsiteX325" fmla="*/ 4024395 w 8009775"/>
              <a:gd name="connsiteY325" fmla="*/ 1481773 h 6858000"/>
              <a:gd name="connsiteX326" fmla="*/ 4022621 w 8009775"/>
              <a:gd name="connsiteY326" fmla="*/ 1476058 h 6858000"/>
              <a:gd name="connsiteX327" fmla="*/ 4020848 w 8009775"/>
              <a:gd name="connsiteY327" fmla="*/ 1470343 h 6858000"/>
              <a:gd name="connsiteX328" fmla="*/ 4018484 w 8009775"/>
              <a:gd name="connsiteY328" fmla="*/ 1464629 h 6858000"/>
              <a:gd name="connsiteX329" fmla="*/ 4016415 w 8009775"/>
              <a:gd name="connsiteY329" fmla="*/ 1459231 h 6858000"/>
              <a:gd name="connsiteX330" fmla="*/ 4013459 w 8009775"/>
              <a:gd name="connsiteY330" fmla="*/ 1453834 h 6858000"/>
              <a:gd name="connsiteX331" fmla="*/ 4010799 w 8009775"/>
              <a:gd name="connsiteY331" fmla="*/ 1448436 h 6858000"/>
              <a:gd name="connsiteX332" fmla="*/ 4007548 w 8009775"/>
              <a:gd name="connsiteY332" fmla="*/ 1443356 h 6858000"/>
              <a:gd name="connsiteX333" fmla="*/ 4003705 w 8009775"/>
              <a:gd name="connsiteY333" fmla="*/ 1438275 h 6858000"/>
              <a:gd name="connsiteX334" fmla="*/ 4000159 w 8009775"/>
              <a:gd name="connsiteY334" fmla="*/ 1433195 h 6858000"/>
              <a:gd name="connsiteX335" fmla="*/ 3996021 w 8009775"/>
              <a:gd name="connsiteY335" fmla="*/ 1428751 h 6858000"/>
              <a:gd name="connsiteX336" fmla="*/ 3991587 w 8009775"/>
              <a:gd name="connsiteY336" fmla="*/ 1423988 h 6858000"/>
              <a:gd name="connsiteX337" fmla="*/ 3323022 w 8009775"/>
              <a:gd name="connsiteY337" fmla="*/ 755333 h 6858000"/>
              <a:gd name="connsiteX338" fmla="*/ 3316815 w 8009775"/>
              <a:gd name="connsiteY338" fmla="*/ 748348 h 6858000"/>
              <a:gd name="connsiteX339" fmla="*/ 3310904 w 8009775"/>
              <a:gd name="connsiteY339" fmla="*/ 741045 h 6858000"/>
              <a:gd name="connsiteX340" fmla="*/ 3305584 w 8009775"/>
              <a:gd name="connsiteY340" fmla="*/ 733108 h 6858000"/>
              <a:gd name="connsiteX341" fmla="*/ 3300855 w 8009775"/>
              <a:gd name="connsiteY341" fmla="*/ 725170 h 6858000"/>
              <a:gd name="connsiteX342" fmla="*/ 3297308 w 8009775"/>
              <a:gd name="connsiteY342" fmla="*/ 716915 h 6858000"/>
              <a:gd name="connsiteX343" fmla="*/ 3293761 w 8009775"/>
              <a:gd name="connsiteY343" fmla="*/ 708660 h 6858000"/>
              <a:gd name="connsiteX344" fmla="*/ 3291101 w 8009775"/>
              <a:gd name="connsiteY344" fmla="*/ 699770 h 6858000"/>
              <a:gd name="connsiteX345" fmla="*/ 3289328 w 8009775"/>
              <a:gd name="connsiteY345" fmla="*/ 691198 h 6858000"/>
              <a:gd name="connsiteX346" fmla="*/ 2596527 w 8009775"/>
              <a:gd name="connsiteY346" fmla="*/ 0 h 6858000"/>
              <a:gd name="connsiteX0" fmla="*/ 2596527 w 8009775"/>
              <a:gd name="connsiteY0" fmla="*/ 0 h 6858000"/>
              <a:gd name="connsiteX1" fmla="*/ 2165004 w 8009775"/>
              <a:gd name="connsiteY1" fmla="*/ 0 h 6858000"/>
              <a:gd name="connsiteX2" fmla="*/ 3265978 w 8009775"/>
              <a:gd name="connsiteY2" fmla="*/ 1101091 h 6858000"/>
              <a:gd name="connsiteX3" fmla="*/ 3270708 w 8009775"/>
              <a:gd name="connsiteY3" fmla="*/ 1105854 h 6858000"/>
              <a:gd name="connsiteX4" fmla="*/ 3274550 w 8009775"/>
              <a:gd name="connsiteY4" fmla="*/ 1110615 h 6858000"/>
              <a:gd name="connsiteX5" fmla="*/ 3278688 w 8009775"/>
              <a:gd name="connsiteY5" fmla="*/ 1115696 h 6858000"/>
              <a:gd name="connsiteX6" fmla="*/ 3282234 w 8009775"/>
              <a:gd name="connsiteY6" fmla="*/ 1120776 h 6858000"/>
              <a:gd name="connsiteX7" fmla="*/ 3285486 w 8009775"/>
              <a:gd name="connsiteY7" fmla="*/ 1126174 h 6858000"/>
              <a:gd name="connsiteX8" fmla="*/ 3288146 w 8009775"/>
              <a:gd name="connsiteY8" fmla="*/ 1131570 h 6858000"/>
              <a:gd name="connsiteX9" fmla="*/ 3291101 w 8009775"/>
              <a:gd name="connsiteY9" fmla="*/ 1136968 h 6858000"/>
              <a:gd name="connsiteX10" fmla="*/ 3293761 w 8009775"/>
              <a:gd name="connsiteY10" fmla="*/ 1142366 h 6858000"/>
              <a:gd name="connsiteX11" fmla="*/ 3295830 w 8009775"/>
              <a:gd name="connsiteY11" fmla="*/ 1148081 h 6858000"/>
              <a:gd name="connsiteX12" fmla="*/ 3297604 w 8009775"/>
              <a:gd name="connsiteY12" fmla="*/ 1153796 h 6858000"/>
              <a:gd name="connsiteX13" fmla="*/ 3299082 w 8009775"/>
              <a:gd name="connsiteY13" fmla="*/ 1159829 h 6858000"/>
              <a:gd name="connsiteX14" fmla="*/ 3300559 w 8009775"/>
              <a:gd name="connsiteY14" fmla="*/ 1165544 h 6858000"/>
              <a:gd name="connsiteX15" fmla="*/ 3301446 w 8009775"/>
              <a:gd name="connsiteY15" fmla="*/ 1171893 h 6858000"/>
              <a:gd name="connsiteX16" fmla="*/ 3302333 w 8009775"/>
              <a:gd name="connsiteY16" fmla="*/ 1177608 h 6858000"/>
              <a:gd name="connsiteX17" fmla="*/ 3302628 w 8009775"/>
              <a:gd name="connsiteY17" fmla="*/ 1183641 h 6858000"/>
              <a:gd name="connsiteX18" fmla="*/ 3302628 w 8009775"/>
              <a:gd name="connsiteY18" fmla="*/ 1189356 h 6858000"/>
              <a:gd name="connsiteX19" fmla="*/ 3302628 w 8009775"/>
              <a:gd name="connsiteY19" fmla="*/ 1195388 h 6858000"/>
              <a:gd name="connsiteX20" fmla="*/ 3302333 w 8009775"/>
              <a:gd name="connsiteY20" fmla="*/ 1201739 h 6858000"/>
              <a:gd name="connsiteX21" fmla="*/ 3301446 w 8009775"/>
              <a:gd name="connsiteY21" fmla="*/ 1207454 h 6858000"/>
              <a:gd name="connsiteX22" fmla="*/ 3300559 w 8009775"/>
              <a:gd name="connsiteY22" fmla="*/ 1213486 h 6858000"/>
              <a:gd name="connsiteX23" fmla="*/ 3299082 w 8009775"/>
              <a:gd name="connsiteY23" fmla="*/ 1219200 h 6858000"/>
              <a:gd name="connsiteX24" fmla="*/ 3297604 w 8009775"/>
              <a:gd name="connsiteY24" fmla="*/ 1225233 h 6858000"/>
              <a:gd name="connsiteX25" fmla="*/ 3295830 w 8009775"/>
              <a:gd name="connsiteY25" fmla="*/ 1230949 h 6858000"/>
              <a:gd name="connsiteX26" fmla="*/ 3293761 w 8009775"/>
              <a:gd name="connsiteY26" fmla="*/ 1236346 h 6858000"/>
              <a:gd name="connsiteX27" fmla="*/ 3291101 w 8009775"/>
              <a:gd name="connsiteY27" fmla="*/ 1242061 h 6858000"/>
              <a:gd name="connsiteX28" fmla="*/ 3288146 w 8009775"/>
              <a:gd name="connsiteY28" fmla="*/ 1247459 h 6858000"/>
              <a:gd name="connsiteX29" fmla="*/ 3285486 w 8009775"/>
              <a:gd name="connsiteY29" fmla="*/ 1252855 h 6858000"/>
              <a:gd name="connsiteX30" fmla="*/ 3282234 w 8009775"/>
              <a:gd name="connsiteY30" fmla="*/ 1258254 h 6858000"/>
              <a:gd name="connsiteX31" fmla="*/ 3278688 w 8009775"/>
              <a:gd name="connsiteY31" fmla="*/ 1263333 h 6858000"/>
              <a:gd name="connsiteX32" fmla="*/ 3274550 w 8009775"/>
              <a:gd name="connsiteY32" fmla="*/ 1268413 h 6858000"/>
              <a:gd name="connsiteX33" fmla="*/ 3270708 w 8009775"/>
              <a:gd name="connsiteY33" fmla="*/ 1273494 h 6858000"/>
              <a:gd name="connsiteX34" fmla="*/ 3265978 w 8009775"/>
              <a:gd name="connsiteY34" fmla="*/ 1278255 h 6858000"/>
              <a:gd name="connsiteX35" fmla="*/ 3261249 w 8009775"/>
              <a:gd name="connsiteY35" fmla="*/ 1282384 h 6858000"/>
              <a:gd name="connsiteX36" fmla="*/ 3256816 w 8009775"/>
              <a:gd name="connsiteY36" fmla="*/ 1286510 h 6858000"/>
              <a:gd name="connsiteX37" fmla="*/ 3251791 w 8009775"/>
              <a:gd name="connsiteY37" fmla="*/ 1290321 h 6858000"/>
              <a:gd name="connsiteX38" fmla="*/ 3246767 w 8009775"/>
              <a:gd name="connsiteY38" fmla="*/ 1293814 h 6858000"/>
              <a:gd name="connsiteX39" fmla="*/ 3241151 w 8009775"/>
              <a:gd name="connsiteY39" fmla="*/ 1297306 h 6858000"/>
              <a:gd name="connsiteX40" fmla="*/ 3235831 w 8009775"/>
              <a:gd name="connsiteY40" fmla="*/ 1300481 h 6858000"/>
              <a:gd name="connsiteX41" fmla="*/ 3230511 w 8009775"/>
              <a:gd name="connsiteY41" fmla="*/ 1303021 h 6858000"/>
              <a:gd name="connsiteX42" fmla="*/ 3224600 w 8009775"/>
              <a:gd name="connsiteY42" fmla="*/ 1305560 h 6858000"/>
              <a:gd name="connsiteX43" fmla="*/ 3218984 w 8009775"/>
              <a:gd name="connsiteY43" fmla="*/ 1307465 h 6858000"/>
              <a:gd name="connsiteX44" fmla="*/ 3213072 w 8009775"/>
              <a:gd name="connsiteY44" fmla="*/ 1309371 h 6858000"/>
              <a:gd name="connsiteX45" fmla="*/ 3207457 w 8009775"/>
              <a:gd name="connsiteY45" fmla="*/ 1311275 h 6858000"/>
              <a:gd name="connsiteX46" fmla="*/ 3201841 w 8009775"/>
              <a:gd name="connsiteY46" fmla="*/ 1312228 h 6858000"/>
              <a:gd name="connsiteX47" fmla="*/ 3195634 w 8009775"/>
              <a:gd name="connsiteY47" fmla="*/ 1313180 h 6858000"/>
              <a:gd name="connsiteX48" fmla="*/ 3189428 w 8009775"/>
              <a:gd name="connsiteY48" fmla="*/ 1314133 h 6858000"/>
              <a:gd name="connsiteX49" fmla="*/ 3183812 w 8009775"/>
              <a:gd name="connsiteY49" fmla="*/ 1314450 h 6858000"/>
              <a:gd name="connsiteX50" fmla="*/ 3177605 w 8009775"/>
              <a:gd name="connsiteY50" fmla="*/ 1314769 h 6858000"/>
              <a:gd name="connsiteX51" fmla="*/ 3171694 w 8009775"/>
              <a:gd name="connsiteY51" fmla="*/ 1314450 h 6858000"/>
              <a:gd name="connsiteX52" fmla="*/ 3165782 w 8009775"/>
              <a:gd name="connsiteY52" fmla="*/ 1314133 h 6858000"/>
              <a:gd name="connsiteX53" fmla="*/ 3159576 w 8009775"/>
              <a:gd name="connsiteY53" fmla="*/ 1313180 h 6858000"/>
              <a:gd name="connsiteX54" fmla="*/ 3153960 w 8009775"/>
              <a:gd name="connsiteY54" fmla="*/ 1312228 h 6858000"/>
              <a:gd name="connsiteX55" fmla="*/ 3147753 w 8009775"/>
              <a:gd name="connsiteY55" fmla="*/ 1311275 h 6858000"/>
              <a:gd name="connsiteX56" fmla="*/ 3142137 w 8009775"/>
              <a:gd name="connsiteY56" fmla="*/ 1309371 h 6858000"/>
              <a:gd name="connsiteX57" fmla="*/ 3136226 w 8009775"/>
              <a:gd name="connsiteY57" fmla="*/ 1307465 h 6858000"/>
              <a:gd name="connsiteX58" fmla="*/ 3130610 w 8009775"/>
              <a:gd name="connsiteY58" fmla="*/ 1305560 h 6858000"/>
              <a:gd name="connsiteX59" fmla="*/ 3124994 w 8009775"/>
              <a:gd name="connsiteY59" fmla="*/ 1303021 h 6858000"/>
              <a:gd name="connsiteX60" fmla="*/ 3119379 w 8009775"/>
              <a:gd name="connsiteY60" fmla="*/ 1300481 h 6858000"/>
              <a:gd name="connsiteX61" fmla="*/ 3114059 w 8009775"/>
              <a:gd name="connsiteY61" fmla="*/ 1297306 h 6858000"/>
              <a:gd name="connsiteX62" fmla="*/ 3109034 w 8009775"/>
              <a:gd name="connsiteY62" fmla="*/ 1293814 h 6858000"/>
              <a:gd name="connsiteX63" fmla="*/ 3103714 w 8009775"/>
              <a:gd name="connsiteY63" fmla="*/ 1290321 h 6858000"/>
              <a:gd name="connsiteX64" fmla="*/ 3098689 w 8009775"/>
              <a:gd name="connsiteY64" fmla="*/ 1286510 h 6858000"/>
              <a:gd name="connsiteX65" fmla="*/ 3093960 w 8009775"/>
              <a:gd name="connsiteY65" fmla="*/ 1282384 h 6858000"/>
              <a:gd name="connsiteX66" fmla="*/ 3089231 w 8009775"/>
              <a:gd name="connsiteY66" fmla="*/ 1278255 h 6858000"/>
              <a:gd name="connsiteX67" fmla="*/ 1811214 w 8009775"/>
              <a:gd name="connsiteY67" fmla="*/ 0 h 6858000"/>
              <a:gd name="connsiteX68" fmla="*/ 0 w 8009775"/>
              <a:gd name="connsiteY68" fmla="*/ 0 h 6858000"/>
              <a:gd name="connsiteX69" fmla="*/ 0 w 8009775"/>
              <a:gd name="connsiteY69" fmla="*/ 6858000 h 6858000"/>
              <a:gd name="connsiteX70" fmla="*/ 8009775 w 8009775"/>
              <a:gd name="connsiteY70" fmla="*/ 6858000 h 6858000"/>
              <a:gd name="connsiteX71" fmla="*/ 3996316 w 8009775"/>
              <a:gd name="connsiteY71" fmla="*/ 2818448 h 6858000"/>
              <a:gd name="connsiteX72" fmla="*/ 3980947 w 8009775"/>
              <a:gd name="connsiteY72" fmla="*/ 2804795 h 6858000"/>
              <a:gd name="connsiteX73" fmla="*/ 3965282 w 8009775"/>
              <a:gd name="connsiteY73" fmla="*/ 2791144 h 6858000"/>
              <a:gd name="connsiteX74" fmla="*/ 3950799 w 8009775"/>
              <a:gd name="connsiteY74" fmla="*/ 2776856 h 6858000"/>
              <a:gd name="connsiteX75" fmla="*/ 3001744 w 8009775"/>
              <a:gd name="connsiteY75" fmla="*/ 1828166 h 6858000"/>
              <a:gd name="connsiteX76" fmla="*/ 2997311 w 8009775"/>
              <a:gd name="connsiteY76" fmla="*/ 1823404 h 6858000"/>
              <a:gd name="connsiteX77" fmla="*/ 2992878 w 8009775"/>
              <a:gd name="connsiteY77" fmla="*/ 1818640 h 6858000"/>
              <a:gd name="connsiteX78" fmla="*/ 2989331 w 8009775"/>
              <a:gd name="connsiteY78" fmla="*/ 1814195 h 6858000"/>
              <a:gd name="connsiteX79" fmla="*/ 2985784 w 8009775"/>
              <a:gd name="connsiteY79" fmla="*/ 1808799 h 6858000"/>
              <a:gd name="connsiteX80" fmla="*/ 2982533 w 8009775"/>
              <a:gd name="connsiteY80" fmla="*/ 1803718 h 6858000"/>
              <a:gd name="connsiteX81" fmla="*/ 2979873 w 8009775"/>
              <a:gd name="connsiteY81" fmla="*/ 1798321 h 6858000"/>
              <a:gd name="connsiteX82" fmla="*/ 2976917 w 8009775"/>
              <a:gd name="connsiteY82" fmla="*/ 1792924 h 6858000"/>
              <a:gd name="connsiteX83" fmla="*/ 2974552 w 8009775"/>
              <a:gd name="connsiteY83" fmla="*/ 1787526 h 6858000"/>
              <a:gd name="connsiteX84" fmla="*/ 2972484 w 8009775"/>
              <a:gd name="connsiteY84" fmla="*/ 1781811 h 6858000"/>
              <a:gd name="connsiteX85" fmla="*/ 2970710 w 8009775"/>
              <a:gd name="connsiteY85" fmla="*/ 1776095 h 6858000"/>
              <a:gd name="connsiteX86" fmla="*/ 2968937 w 8009775"/>
              <a:gd name="connsiteY86" fmla="*/ 1770380 h 6858000"/>
              <a:gd name="connsiteX87" fmla="*/ 2967755 w 8009775"/>
              <a:gd name="connsiteY87" fmla="*/ 1764665 h 6858000"/>
              <a:gd name="connsiteX88" fmla="*/ 2966868 w 8009775"/>
              <a:gd name="connsiteY88" fmla="*/ 1758634 h 6858000"/>
              <a:gd name="connsiteX89" fmla="*/ 2965981 w 8009775"/>
              <a:gd name="connsiteY89" fmla="*/ 1752919 h 6858000"/>
              <a:gd name="connsiteX90" fmla="*/ 2965686 w 8009775"/>
              <a:gd name="connsiteY90" fmla="*/ 1746885 h 6858000"/>
              <a:gd name="connsiteX91" fmla="*/ 2965686 w 8009775"/>
              <a:gd name="connsiteY91" fmla="*/ 1741170 h 6858000"/>
              <a:gd name="connsiteX92" fmla="*/ 2965686 w 8009775"/>
              <a:gd name="connsiteY92" fmla="*/ 1735139 h 6858000"/>
              <a:gd name="connsiteX93" fmla="*/ 2965981 w 8009775"/>
              <a:gd name="connsiteY93" fmla="*/ 1729424 h 6858000"/>
              <a:gd name="connsiteX94" fmla="*/ 2966868 w 8009775"/>
              <a:gd name="connsiteY94" fmla="*/ 1723074 h 6858000"/>
              <a:gd name="connsiteX95" fmla="*/ 2967755 w 8009775"/>
              <a:gd name="connsiteY95" fmla="*/ 1717358 h 6858000"/>
              <a:gd name="connsiteX96" fmla="*/ 2968937 w 8009775"/>
              <a:gd name="connsiteY96" fmla="*/ 1711643 h 6858000"/>
              <a:gd name="connsiteX97" fmla="*/ 2970710 w 8009775"/>
              <a:gd name="connsiteY97" fmla="*/ 1705929 h 6858000"/>
              <a:gd name="connsiteX98" fmla="*/ 2972484 w 8009775"/>
              <a:gd name="connsiteY98" fmla="*/ 1700214 h 6858000"/>
              <a:gd name="connsiteX99" fmla="*/ 2974552 w 8009775"/>
              <a:gd name="connsiteY99" fmla="*/ 1694816 h 6858000"/>
              <a:gd name="connsiteX100" fmla="*/ 2976917 w 8009775"/>
              <a:gd name="connsiteY100" fmla="*/ 1689101 h 6858000"/>
              <a:gd name="connsiteX101" fmla="*/ 2979873 w 8009775"/>
              <a:gd name="connsiteY101" fmla="*/ 1683703 h 6858000"/>
              <a:gd name="connsiteX102" fmla="*/ 2982533 w 8009775"/>
              <a:gd name="connsiteY102" fmla="*/ 1678305 h 6858000"/>
              <a:gd name="connsiteX103" fmla="*/ 2985784 w 8009775"/>
              <a:gd name="connsiteY103" fmla="*/ 1673226 h 6858000"/>
              <a:gd name="connsiteX104" fmla="*/ 2989331 w 8009775"/>
              <a:gd name="connsiteY104" fmla="*/ 1668145 h 6858000"/>
              <a:gd name="connsiteX105" fmla="*/ 2992878 w 8009775"/>
              <a:gd name="connsiteY105" fmla="*/ 1663066 h 6858000"/>
              <a:gd name="connsiteX106" fmla="*/ 2997311 w 8009775"/>
              <a:gd name="connsiteY106" fmla="*/ 1658621 h 6858000"/>
              <a:gd name="connsiteX107" fmla="*/ 3001744 w 8009775"/>
              <a:gd name="connsiteY107" fmla="*/ 1653859 h 6858000"/>
              <a:gd name="connsiteX108" fmla="*/ 3006178 w 8009775"/>
              <a:gd name="connsiteY108" fmla="*/ 1649414 h 6858000"/>
              <a:gd name="connsiteX109" fmla="*/ 3010907 w 8009775"/>
              <a:gd name="connsiteY109" fmla="*/ 1645603 h 6858000"/>
              <a:gd name="connsiteX110" fmla="*/ 3015932 w 8009775"/>
              <a:gd name="connsiteY110" fmla="*/ 1641794 h 6858000"/>
              <a:gd name="connsiteX111" fmla="*/ 3020956 w 8009775"/>
              <a:gd name="connsiteY111" fmla="*/ 1637984 h 6858000"/>
              <a:gd name="connsiteX112" fmla="*/ 3025981 w 8009775"/>
              <a:gd name="connsiteY112" fmla="*/ 1634809 h 6858000"/>
              <a:gd name="connsiteX113" fmla="*/ 3031596 w 8009775"/>
              <a:gd name="connsiteY113" fmla="*/ 1631950 h 6858000"/>
              <a:gd name="connsiteX114" fmla="*/ 3036916 w 8009775"/>
              <a:gd name="connsiteY114" fmla="*/ 1629094 h 6858000"/>
              <a:gd name="connsiteX115" fmla="*/ 3042532 w 8009775"/>
              <a:gd name="connsiteY115" fmla="*/ 1626871 h 6858000"/>
              <a:gd name="connsiteX116" fmla="*/ 3047852 w 8009775"/>
              <a:gd name="connsiteY116" fmla="*/ 1624649 h 6858000"/>
              <a:gd name="connsiteX117" fmla="*/ 3053764 w 8009775"/>
              <a:gd name="connsiteY117" fmla="*/ 1623061 h 6858000"/>
              <a:gd name="connsiteX118" fmla="*/ 3059379 w 8009775"/>
              <a:gd name="connsiteY118" fmla="*/ 1621155 h 6858000"/>
              <a:gd name="connsiteX119" fmla="*/ 3065291 w 8009775"/>
              <a:gd name="connsiteY119" fmla="*/ 1620204 h 6858000"/>
              <a:gd name="connsiteX120" fmla="*/ 3070906 w 8009775"/>
              <a:gd name="connsiteY120" fmla="*/ 1618934 h 6858000"/>
              <a:gd name="connsiteX121" fmla="*/ 3077113 w 8009775"/>
              <a:gd name="connsiteY121" fmla="*/ 1618299 h 6858000"/>
              <a:gd name="connsiteX122" fmla="*/ 3082729 w 8009775"/>
              <a:gd name="connsiteY122" fmla="*/ 1617981 h 6858000"/>
              <a:gd name="connsiteX123" fmla="*/ 3088936 w 8009775"/>
              <a:gd name="connsiteY123" fmla="*/ 1617981 h 6858000"/>
              <a:gd name="connsiteX124" fmla="*/ 3094552 w 8009775"/>
              <a:gd name="connsiteY124" fmla="*/ 1617981 h 6858000"/>
              <a:gd name="connsiteX125" fmla="*/ 3100758 w 8009775"/>
              <a:gd name="connsiteY125" fmla="*/ 1618299 h 6858000"/>
              <a:gd name="connsiteX126" fmla="*/ 3106670 w 8009775"/>
              <a:gd name="connsiteY126" fmla="*/ 1618934 h 6858000"/>
              <a:gd name="connsiteX127" fmla="*/ 3112285 w 8009775"/>
              <a:gd name="connsiteY127" fmla="*/ 1620204 h 6858000"/>
              <a:gd name="connsiteX128" fmla="*/ 3117901 w 8009775"/>
              <a:gd name="connsiteY128" fmla="*/ 1621155 h 6858000"/>
              <a:gd name="connsiteX129" fmla="*/ 3123812 w 8009775"/>
              <a:gd name="connsiteY129" fmla="*/ 1623061 h 6858000"/>
              <a:gd name="connsiteX130" fmla="*/ 3129428 w 8009775"/>
              <a:gd name="connsiteY130" fmla="*/ 1624649 h 6858000"/>
              <a:gd name="connsiteX131" fmla="*/ 3135339 w 8009775"/>
              <a:gd name="connsiteY131" fmla="*/ 1626871 h 6858000"/>
              <a:gd name="connsiteX132" fmla="*/ 3140660 w 8009775"/>
              <a:gd name="connsiteY132" fmla="*/ 1629094 h 6858000"/>
              <a:gd name="connsiteX133" fmla="*/ 3145980 w 8009775"/>
              <a:gd name="connsiteY133" fmla="*/ 1631950 h 6858000"/>
              <a:gd name="connsiteX134" fmla="*/ 3151300 w 8009775"/>
              <a:gd name="connsiteY134" fmla="*/ 1634809 h 6858000"/>
              <a:gd name="connsiteX135" fmla="*/ 3156324 w 8009775"/>
              <a:gd name="connsiteY135" fmla="*/ 1637984 h 6858000"/>
              <a:gd name="connsiteX136" fmla="*/ 3161349 w 8009775"/>
              <a:gd name="connsiteY136" fmla="*/ 1641794 h 6858000"/>
              <a:gd name="connsiteX137" fmla="*/ 3166374 w 8009775"/>
              <a:gd name="connsiteY137" fmla="*/ 1645603 h 6858000"/>
              <a:gd name="connsiteX138" fmla="*/ 3171102 w 8009775"/>
              <a:gd name="connsiteY138" fmla="*/ 1649414 h 6858000"/>
              <a:gd name="connsiteX139" fmla="*/ 3175832 w 8009775"/>
              <a:gd name="connsiteY139" fmla="*/ 1653859 h 6858000"/>
              <a:gd name="connsiteX140" fmla="*/ 3844692 w 8009775"/>
              <a:gd name="connsiteY140" fmla="*/ 2322830 h 6858000"/>
              <a:gd name="connsiteX141" fmla="*/ 3849421 w 8009775"/>
              <a:gd name="connsiteY141" fmla="*/ 2326958 h 6858000"/>
              <a:gd name="connsiteX142" fmla="*/ 3854150 w 8009775"/>
              <a:gd name="connsiteY142" fmla="*/ 2331085 h 6858000"/>
              <a:gd name="connsiteX143" fmla="*/ 3859175 w 8009775"/>
              <a:gd name="connsiteY143" fmla="*/ 2334895 h 6858000"/>
              <a:gd name="connsiteX144" fmla="*/ 3864199 w 8009775"/>
              <a:gd name="connsiteY144" fmla="*/ 2338705 h 6858000"/>
              <a:gd name="connsiteX145" fmla="*/ 3869224 w 8009775"/>
              <a:gd name="connsiteY145" fmla="*/ 2341880 h 6858000"/>
              <a:gd name="connsiteX146" fmla="*/ 3874544 w 8009775"/>
              <a:gd name="connsiteY146" fmla="*/ 2344738 h 6858000"/>
              <a:gd name="connsiteX147" fmla="*/ 3879864 w 8009775"/>
              <a:gd name="connsiteY147" fmla="*/ 2347595 h 6858000"/>
              <a:gd name="connsiteX148" fmla="*/ 3885775 w 8009775"/>
              <a:gd name="connsiteY148" fmla="*/ 2349818 h 6858000"/>
              <a:gd name="connsiteX149" fmla="*/ 3891096 w 8009775"/>
              <a:gd name="connsiteY149" fmla="*/ 2351723 h 6858000"/>
              <a:gd name="connsiteX150" fmla="*/ 3896711 w 8009775"/>
              <a:gd name="connsiteY150" fmla="*/ 2353628 h 6858000"/>
              <a:gd name="connsiteX151" fmla="*/ 3902623 w 8009775"/>
              <a:gd name="connsiteY151" fmla="*/ 2355534 h 6858000"/>
              <a:gd name="connsiteX152" fmla="*/ 3908238 w 8009775"/>
              <a:gd name="connsiteY152" fmla="*/ 2356485 h 6858000"/>
              <a:gd name="connsiteX153" fmla="*/ 3914150 w 8009775"/>
              <a:gd name="connsiteY153" fmla="*/ 2357755 h 6858000"/>
              <a:gd name="connsiteX154" fmla="*/ 3920061 w 8009775"/>
              <a:gd name="connsiteY154" fmla="*/ 2358391 h 6858000"/>
              <a:gd name="connsiteX155" fmla="*/ 3925972 w 8009775"/>
              <a:gd name="connsiteY155" fmla="*/ 2358708 h 6858000"/>
              <a:gd name="connsiteX156" fmla="*/ 3931883 w 8009775"/>
              <a:gd name="connsiteY156" fmla="*/ 2358708 h 6858000"/>
              <a:gd name="connsiteX157" fmla="*/ 3937795 w 8009775"/>
              <a:gd name="connsiteY157" fmla="*/ 2358708 h 6858000"/>
              <a:gd name="connsiteX158" fmla="*/ 3943706 w 8009775"/>
              <a:gd name="connsiteY158" fmla="*/ 2358391 h 6858000"/>
              <a:gd name="connsiteX159" fmla="*/ 3949617 w 8009775"/>
              <a:gd name="connsiteY159" fmla="*/ 2357755 h 6858000"/>
              <a:gd name="connsiteX160" fmla="*/ 3955233 w 8009775"/>
              <a:gd name="connsiteY160" fmla="*/ 2356485 h 6858000"/>
              <a:gd name="connsiteX161" fmla="*/ 3961144 w 8009775"/>
              <a:gd name="connsiteY161" fmla="*/ 2355534 h 6858000"/>
              <a:gd name="connsiteX162" fmla="*/ 3966760 w 8009775"/>
              <a:gd name="connsiteY162" fmla="*/ 2353628 h 6858000"/>
              <a:gd name="connsiteX163" fmla="*/ 3972671 w 8009775"/>
              <a:gd name="connsiteY163" fmla="*/ 2351723 h 6858000"/>
              <a:gd name="connsiteX164" fmla="*/ 3978287 w 8009775"/>
              <a:gd name="connsiteY164" fmla="*/ 2349818 h 6858000"/>
              <a:gd name="connsiteX165" fmla="*/ 3983607 w 8009775"/>
              <a:gd name="connsiteY165" fmla="*/ 2347595 h 6858000"/>
              <a:gd name="connsiteX166" fmla="*/ 3989223 w 8009775"/>
              <a:gd name="connsiteY166" fmla="*/ 2344738 h 6858000"/>
              <a:gd name="connsiteX167" fmla="*/ 3994543 w 8009775"/>
              <a:gd name="connsiteY167" fmla="*/ 2341880 h 6858000"/>
              <a:gd name="connsiteX168" fmla="*/ 3999567 w 8009775"/>
              <a:gd name="connsiteY168" fmla="*/ 2338705 h 6858000"/>
              <a:gd name="connsiteX169" fmla="*/ 4004888 w 8009775"/>
              <a:gd name="connsiteY169" fmla="*/ 2334895 h 6858000"/>
              <a:gd name="connsiteX170" fmla="*/ 4009617 w 8009775"/>
              <a:gd name="connsiteY170" fmla="*/ 2331085 h 6858000"/>
              <a:gd name="connsiteX171" fmla="*/ 4014346 w 8009775"/>
              <a:gd name="connsiteY171" fmla="*/ 2326958 h 6858000"/>
              <a:gd name="connsiteX172" fmla="*/ 4018779 w 8009775"/>
              <a:gd name="connsiteY172" fmla="*/ 2322830 h 6858000"/>
              <a:gd name="connsiteX173" fmla="*/ 4023213 w 8009775"/>
              <a:gd name="connsiteY173" fmla="*/ 2318068 h 6858000"/>
              <a:gd name="connsiteX174" fmla="*/ 4027646 w 8009775"/>
              <a:gd name="connsiteY174" fmla="*/ 2313306 h 6858000"/>
              <a:gd name="connsiteX175" fmla="*/ 4031193 w 8009775"/>
              <a:gd name="connsiteY175" fmla="*/ 2308544 h 6858000"/>
              <a:gd name="connsiteX176" fmla="*/ 4034740 w 8009775"/>
              <a:gd name="connsiteY176" fmla="*/ 2303463 h 6858000"/>
              <a:gd name="connsiteX177" fmla="*/ 4037991 w 8009775"/>
              <a:gd name="connsiteY177" fmla="*/ 2298384 h 6858000"/>
              <a:gd name="connsiteX178" fmla="*/ 4040946 w 8009775"/>
              <a:gd name="connsiteY178" fmla="*/ 2292985 h 6858000"/>
              <a:gd name="connsiteX179" fmla="*/ 4043606 w 8009775"/>
              <a:gd name="connsiteY179" fmla="*/ 2287588 h 6858000"/>
              <a:gd name="connsiteX180" fmla="*/ 4046267 w 8009775"/>
              <a:gd name="connsiteY180" fmla="*/ 2281873 h 6858000"/>
              <a:gd name="connsiteX181" fmla="*/ 4048040 w 8009775"/>
              <a:gd name="connsiteY181" fmla="*/ 2276476 h 6858000"/>
              <a:gd name="connsiteX182" fmla="*/ 4050109 w 8009775"/>
              <a:gd name="connsiteY182" fmla="*/ 2270761 h 6858000"/>
              <a:gd name="connsiteX183" fmla="*/ 4051587 w 8009775"/>
              <a:gd name="connsiteY183" fmla="*/ 2265046 h 6858000"/>
              <a:gd name="connsiteX184" fmla="*/ 4052769 w 8009775"/>
              <a:gd name="connsiteY184" fmla="*/ 2259331 h 6858000"/>
              <a:gd name="connsiteX185" fmla="*/ 4053656 w 8009775"/>
              <a:gd name="connsiteY185" fmla="*/ 2253298 h 6858000"/>
              <a:gd name="connsiteX186" fmla="*/ 4054542 w 8009775"/>
              <a:gd name="connsiteY186" fmla="*/ 2247266 h 6858000"/>
              <a:gd name="connsiteX187" fmla="*/ 4054838 w 8009775"/>
              <a:gd name="connsiteY187" fmla="*/ 2241551 h 6858000"/>
              <a:gd name="connsiteX188" fmla="*/ 4055133 w 8009775"/>
              <a:gd name="connsiteY188" fmla="*/ 2235519 h 6858000"/>
              <a:gd name="connsiteX189" fmla="*/ 4054838 w 8009775"/>
              <a:gd name="connsiteY189" fmla="*/ 2229804 h 6858000"/>
              <a:gd name="connsiteX190" fmla="*/ 4054542 w 8009775"/>
              <a:gd name="connsiteY190" fmla="*/ 2223770 h 6858000"/>
              <a:gd name="connsiteX191" fmla="*/ 4053656 w 8009775"/>
              <a:gd name="connsiteY191" fmla="*/ 2217739 h 6858000"/>
              <a:gd name="connsiteX192" fmla="*/ 4052769 w 8009775"/>
              <a:gd name="connsiteY192" fmla="*/ 2212024 h 6858000"/>
              <a:gd name="connsiteX193" fmla="*/ 4051587 w 8009775"/>
              <a:gd name="connsiteY193" fmla="*/ 2206309 h 6858000"/>
              <a:gd name="connsiteX194" fmla="*/ 4050109 w 8009775"/>
              <a:gd name="connsiteY194" fmla="*/ 2200593 h 6858000"/>
              <a:gd name="connsiteX195" fmla="*/ 4048040 w 8009775"/>
              <a:gd name="connsiteY195" fmla="*/ 2194878 h 6858000"/>
              <a:gd name="connsiteX196" fmla="*/ 4046267 w 8009775"/>
              <a:gd name="connsiteY196" fmla="*/ 2189163 h 6858000"/>
              <a:gd name="connsiteX197" fmla="*/ 4043606 w 8009775"/>
              <a:gd name="connsiteY197" fmla="*/ 2183765 h 6858000"/>
              <a:gd name="connsiteX198" fmla="*/ 4040946 w 8009775"/>
              <a:gd name="connsiteY198" fmla="*/ 2178368 h 6858000"/>
              <a:gd name="connsiteX199" fmla="*/ 4037991 w 8009775"/>
              <a:gd name="connsiteY199" fmla="*/ 2172970 h 6858000"/>
              <a:gd name="connsiteX200" fmla="*/ 4034740 w 8009775"/>
              <a:gd name="connsiteY200" fmla="*/ 2167890 h 6858000"/>
              <a:gd name="connsiteX201" fmla="*/ 4031193 w 8009775"/>
              <a:gd name="connsiteY201" fmla="*/ 2162494 h 6858000"/>
              <a:gd name="connsiteX202" fmla="*/ 4027646 w 8009775"/>
              <a:gd name="connsiteY202" fmla="*/ 2157730 h 6858000"/>
              <a:gd name="connsiteX203" fmla="*/ 4023213 w 8009775"/>
              <a:gd name="connsiteY203" fmla="*/ 2153285 h 6858000"/>
              <a:gd name="connsiteX204" fmla="*/ 4018779 w 8009775"/>
              <a:gd name="connsiteY204" fmla="*/ 2148523 h 6858000"/>
              <a:gd name="connsiteX205" fmla="*/ 3632182 w 8009775"/>
              <a:gd name="connsiteY205" fmla="*/ 1761490 h 6858000"/>
              <a:gd name="connsiteX206" fmla="*/ 3435928 w 8009775"/>
              <a:gd name="connsiteY206" fmla="*/ 1565276 h 6858000"/>
              <a:gd name="connsiteX207" fmla="*/ 3431198 w 8009775"/>
              <a:gd name="connsiteY207" fmla="*/ 1560514 h 6858000"/>
              <a:gd name="connsiteX208" fmla="*/ 3427356 w 8009775"/>
              <a:gd name="connsiteY208" fmla="*/ 1555751 h 6858000"/>
              <a:gd name="connsiteX209" fmla="*/ 3423218 w 8009775"/>
              <a:gd name="connsiteY209" fmla="*/ 1550671 h 6858000"/>
              <a:gd name="connsiteX210" fmla="*/ 3420262 w 8009775"/>
              <a:gd name="connsiteY210" fmla="*/ 1545909 h 6858000"/>
              <a:gd name="connsiteX211" fmla="*/ 3417012 w 8009775"/>
              <a:gd name="connsiteY211" fmla="*/ 1540829 h 6858000"/>
              <a:gd name="connsiteX212" fmla="*/ 3413760 w 8009775"/>
              <a:gd name="connsiteY212" fmla="*/ 1535430 h 6858000"/>
              <a:gd name="connsiteX213" fmla="*/ 3411100 w 8009775"/>
              <a:gd name="connsiteY213" fmla="*/ 1530034 h 6858000"/>
              <a:gd name="connsiteX214" fmla="*/ 3408736 w 8009775"/>
              <a:gd name="connsiteY214" fmla="*/ 1524635 h 6858000"/>
              <a:gd name="connsiteX215" fmla="*/ 3406371 w 8009775"/>
              <a:gd name="connsiteY215" fmla="*/ 1518920 h 6858000"/>
              <a:gd name="connsiteX216" fmla="*/ 3404598 w 8009775"/>
              <a:gd name="connsiteY216" fmla="*/ 1513205 h 6858000"/>
              <a:gd name="connsiteX217" fmla="*/ 3403120 w 8009775"/>
              <a:gd name="connsiteY217" fmla="*/ 1507174 h 6858000"/>
              <a:gd name="connsiteX218" fmla="*/ 3401938 w 8009775"/>
              <a:gd name="connsiteY218" fmla="*/ 1501459 h 6858000"/>
              <a:gd name="connsiteX219" fmla="*/ 3401051 w 8009775"/>
              <a:gd name="connsiteY219" fmla="*/ 1495744 h 6858000"/>
              <a:gd name="connsiteX220" fmla="*/ 3400460 w 8009775"/>
              <a:gd name="connsiteY220" fmla="*/ 1489710 h 6858000"/>
              <a:gd name="connsiteX221" fmla="*/ 3399869 w 8009775"/>
              <a:gd name="connsiteY221" fmla="*/ 1483995 h 6858000"/>
              <a:gd name="connsiteX222" fmla="*/ 3399573 w 8009775"/>
              <a:gd name="connsiteY222" fmla="*/ 1478281 h 6858000"/>
              <a:gd name="connsiteX223" fmla="*/ 3399869 w 8009775"/>
              <a:gd name="connsiteY223" fmla="*/ 1472249 h 6858000"/>
              <a:gd name="connsiteX224" fmla="*/ 3400460 w 8009775"/>
              <a:gd name="connsiteY224" fmla="*/ 1466215 h 6858000"/>
              <a:gd name="connsiteX225" fmla="*/ 3401051 w 8009775"/>
              <a:gd name="connsiteY225" fmla="*/ 1460183 h 6858000"/>
              <a:gd name="connsiteX226" fmla="*/ 3401938 w 8009775"/>
              <a:gd name="connsiteY226" fmla="*/ 1454468 h 6858000"/>
              <a:gd name="connsiteX227" fmla="*/ 3403120 w 8009775"/>
              <a:gd name="connsiteY227" fmla="*/ 1448754 h 6858000"/>
              <a:gd name="connsiteX228" fmla="*/ 3404598 w 8009775"/>
              <a:gd name="connsiteY228" fmla="*/ 1443039 h 6858000"/>
              <a:gd name="connsiteX229" fmla="*/ 3406371 w 8009775"/>
              <a:gd name="connsiteY229" fmla="*/ 1437324 h 6858000"/>
              <a:gd name="connsiteX230" fmla="*/ 3408736 w 8009775"/>
              <a:gd name="connsiteY230" fmla="*/ 1431609 h 6858000"/>
              <a:gd name="connsiteX231" fmla="*/ 3411100 w 8009775"/>
              <a:gd name="connsiteY231" fmla="*/ 1426211 h 6858000"/>
              <a:gd name="connsiteX232" fmla="*/ 3413760 w 8009775"/>
              <a:gd name="connsiteY232" fmla="*/ 1420814 h 6858000"/>
              <a:gd name="connsiteX233" fmla="*/ 3417012 w 8009775"/>
              <a:gd name="connsiteY233" fmla="*/ 1415416 h 6858000"/>
              <a:gd name="connsiteX234" fmla="*/ 3420262 w 8009775"/>
              <a:gd name="connsiteY234" fmla="*/ 1410336 h 6858000"/>
              <a:gd name="connsiteX235" fmla="*/ 3423218 w 8009775"/>
              <a:gd name="connsiteY235" fmla="*/ 1405256 h 6858000"/>
              <a:gd name="connsiteX236" fmla="*/ 3427356 w 8009775"/>
              <a:gd name="connsiteY236" fmla="*/ 1400175 h 6858000"/>
              <a:gd name="connsiteX237" fmla="*/ 3431198 w 8009775"/>
              <a:gd name="connsiteY237" fmla="*/ 1395731 h 6858000"/>
              <a:gd name="connsiteX238" fmla="*/ 3435928 w 8009775"/>
              <a:gd name="connsiteY238" fmla="*/ 1390969 h 6858000"/>
              <a:gd name="connsiteX239" fmla="*/ 3440361 w 8009775"/>
              <a:gd name="connsiteY239" fmla="*/ 1386524 h 6858000"/>
              <a:gd name="connsiteX240" fmla="*/ 3445386 w 8009775"/>
              <a:gd name="connsiteY240" fmla="*/ 1382396 h 6858000"/>
              <a:gd name="connsiteX241" fmla="*/ 3449819 w 8009775"/>
              <a:gd name="connsiteY241" fmla="*/ 1378585 h 6858000"/>
              <a:gd name="connsiteX242" fmla="*/ 3454844 w 8009775"/>
              <a:gd name="connsiteY242" fmla="*/ 1375094 h 6858000"/>
              <a:gd name="connsiteX243" fmla="*/ 3460459 w 8009775"/>
              <a:gd name="connsiteY243" fmla="*/ 1371919 h 6858000"/>
              <a:gd name="connsiteX244" fmla="*/ 3465780 w 8009775"/>
              <a:gd name="connsiteY244" fmla="*/ 1369061 h 6858000"/>
              <a:gd name="connsiteX245" fmla="*/ 3471100 w 8009775"/>
              <a:gd name="connsiteY245" fmla="*/ 1366204 h 6858000"/>
              <a:gd name="connsiteX246" fmla="*/ 3476420 w 8009775"/>
              <a:gd name="connsiteY246" fmla="*/ 1363980 h 6858000"/>
              <a:gd name="connsiteX247" fmla="*/ 3482331 w 8009775"/>
              <a:gd name="connsiteY247" fmla="*/ 1361759 h 6858000"/>
              <a:gd name="connsiteX248" fmla="*/ 3487947 w 8009775"/>
              <a:gd name="connsiteY248" fmla="*/ 1360170 h 6858000"/>
              <a:gd name="connsiteX249" fmla="*/ 3493858 w 8009775"/>
              <a:gd name="connsiteY249" fmla="*/ 1358265 h 6858000"/>
              <a:gd name="connsiteX250" fmla="*/ 3499474 w 8009775"/>
              <a:gd name="connsiteY250" fmla="*/ 1357314 h 6858000"/>
              <a:gd name="connsiteX251" fmla="*/ 3505385 w 8009775"/>
              <a:gd name="connsiteY251" fmla="*/ 1356043 h 6858000"/>
              <a:gd name="connsiteX252" fmla="*/ 3511001 w 8009775"/>
              <a:gd name="connsiteY252" fmla="*/ 1355409 h 6858000"/>
              <a:gd name="connsiteX253" fmla="*/ 3517208 w 8009775"/>
              <a:gd name="connsiteY253" fmla="*/ 1355090 h 6858000"/>
              <a:gd name="connsiteX254" fmla="*/ 3522823 w 8009775"/>
              <a:gd name="connsiteY254" fmla="*/ 1354773 h 6858000"/>
              <a:gd name="connsiteX255" fmla="*/ 3529030 w 8009775"/>
              <a:gd name="connsiteY255" fmla="*/ 1355090 h 6858000"/>
              <a:gd name="connsiteX256" fmla="*/ 3534646 w 8009775"/>
              <a:gd name="connsiteY256" fmla="*/ 1355409 h 6858000"/>
              <a:gd name="connsiteX257" fmla="*/ 3540557 w 8009775"/>
              <a:gd name="connsiteY257" fmla="*/ 1356043 h 6858000"/>
              <a:gd name="connsiteX258" fmla="*/ 3546468 w 8009775"/>
              <a:gd name="connsiteY258" fmla="*/ 1357314 h 6858000"/>
              <a:gd name="connsiteX259" fmla="*/ 3552380 w 8009775"/>
              <a:gd name="connsiteY259" fmla="*/ 1358265 h 6858000"/>
              <a:gd name="connsiteX260" fmla="*/ 3557995 w 8009775"/>
              <a:gd name="connsiteY260" fmla="*/ 1360170 h 6858000"/>
              <a:gd name="connsiteX261" fmla="*/ 3563906 w 8009775"/>
              <a:gd name="connsiteY261" fmla="*/ 1361759 h 6858000"/>
              <a:gd name="connsiteX262" fmla="*/ 3569227 w 8009775"/>
              <a:gd name="connsiteY262" fmla="*/ 1363980 h 6858000"/>
              <a:gd name="connsiteX263" fmla="*/ 3574842 w 8009775"/>
              <a:gd name="connsiteY263" fmla="*/ 1366204 h 6858000"/>
              <a:gd name="connsiteX264" fmla="*/ 3580458 w 8009775"/>
              <a:gd name="connsiteY264" fmla="*/ 1369061 h 6858000"/>
              <a:gd name="connsiteX265" fmla="*/ 3585778 w 8009775"/>
              <a:gd name="connsiteY265" fmla="*/ 1371919 h 6858000"/>
              <a:gd name="connsiteX266" fmla="*/ 3590803 w 8009775"/>
              <a:gd name="connsiteY266" fmla="*/ 1375094 h 6858000"/>
              <a:gd name="connsiteX267" fmla="*/ 3595828 w 8009775"/>
              <a:gd name="connsiteY267" fmla="*/ 1378585 h 6858000"/>
              <a:gd name="connsiteX268" fmla="*/ 3600852 w 8009775"/>
              <a:gd name="connsiteY268" fmla="*/ 1382396 h 6858000"/>
              <a:gd name="connsiteX269" fmla="*/ 3605581 w 8009775"/>
              <a:gd name="connsiteY269" fmla="*/ 1386524 h 6858000"/>
              <a:gd name="connsiteX270" fmla="*/ 3610014 w 8009775"/>
              <a:gd name="connsiteY270" fmla="*/ 1390969 h 6858000"/>
              <a:gd name="connsiteX271" fmla="*/ 3817500 w 8009775"/>
              <a:gd name="connsiteY271" fmla="*/ 1598296 h 6858000"/>
              <a:gd name="connsiteX272" fmla="*/ 3821934 w 8009775"/>
              <a:gd name="connsiteY272" fmla="*/ 1602423 h 6858000"/>
              <a:gd name="connsiteX273" fmla="*/ 3826663 w 8009775"/>
              <a:gd name="connsiteY273" fmla="*/ 1606869 h 6858000"/>
              <a:gd name="connsiteX274" fmla="*/ 3831687 w 8009775"/>
              <a:gd name="connsiteY274" fmla="*/ 1610361 h 6858000"/>
              <a:gd name="connsiteX275" fmla="*/ 3836712 w 8009775"/>
              <a:gd name="connsiteY275" fmla="*/ 1613854 h 6858000"/>
              <a:gd name="connsiteX276" fmla="*/ 3841736 w 8009775"/>
              <a:gd name="connsiteY276" fmla="*/ 1617345 h 6858000"/>
              <a:gd name="connsiteX277" fmla="*/ 3847352 w 8009775"/>
              <a:gd name="connsiteY277" fmla="*/ 1620204 h 6858000"/>
              <a:gd name="connsiteX278" fmla="*/ 3852672 w 8009775"/>
              <a:gd name="connsiteY278" fmla="*/ 1623061 h 6858000"/>
              <a:gd name="connsiteX279" fmla="*/ 3857992 w 8009775"/>
              <a:gd name="connsiteY279" fmla="*/ 1625283 h 6858000"/>
              <a:gd name="connsiteX280" fmla="*/ 3863608 w 8009775"/>
              <a:gd name="connsiteY280" fmla="*/ 1627189 h 6858000"/>
              <a:gd name="connsiteX281" fmla="*/ 3869519 w 8009775"/>
              <a:gd name="connsiteY281" fmla="*/ 1629094 h 6858000"/>
              <a:gd name="connsiteX282" fmla="*/ 3875135 w 8009775"/>
              <a:gd name="connsiteY282" fmla="*/ 1630998 h 6858000"/>
              <a:gd name="connsiteX283" fmla="*/ 3881046 w 8009775"/>
              <a:gd name="connsiteY283" fmla="*/ 1631950 h 6858000"/>
              <a:gd name="connsiteX284" fmla="*/ 3886662 w 8009775"/>
              <a:gd name="connsiteY284" fmla="*/ 1632904 h 6858000"/>
              <a:gd name="connsiteX285" fmla="*/ 3892869 w 8009775"/>
              <a:gd name="connsiteY285" fmla="*/ 1633856 h 6858000"/>
              <a:gd name="connsiteX286" fmla="*/ 3898485 w 8009775"/>
              <a:gd name="connsiteY286" fmla="*/ 1634174 h 6858000"/>
              <a:gd name="connsiteX287" fmla="*/ 3904396 w 8009775"/>
              <a:gd name="connsiteY287" fmla="*/ 1634174 h 6858000"/>
              <a:gd name="connsiteX288" fmla="*/ 3910307 w 8009775"/>
              <a:gd name="connsiteY288" fmla="*/ 1634174 h 6858000"/>
              <a:gd name="connsiteX289" fmla="*/ 3916219 w 8009775"/>
              <a:gd name="connsiteY289" fmla="*/ 1633856 h 6858000"/>
              <a:gd name="connsiteX290" fmla="*/ 3922425 w 8009775"/>
              <a:gd name="connsiteY290" fmla="*/ 1632904 h 6858000"/>
              <a:gd name="connsiteX291" fmla="*/ 3928041 w 8009775"/>
              <a:gd name="connsiteY291" fmla="*/ 1631950 h 6858000"/>
              <a:gd name="connsiteX292" fmla="*/ 3933657 w 8009775"/>
              <a:gd name="connsiteY292" fmla="*/ 1630998 h 6858000"/>
              <a:gd name="connsiteX293" fmla="*/ 3939568 w 8009775"/>
              <a:gd name="connsiteY293" fmla="*/ 1629094 h 6858000"/>
              <a:gd name="connsiteX294" fmla="*/ 3945184 w 8009775"/>
              <a:gd name="connsiteY294" fmla="*/ 1627189 h 6858000"/>
              <a:gd name="connsiteX295" fmla="*/ 3950799 w 8009775"/>
              <a:gd name="connsiteY295" fmla="*/ 1625283 h 6858000"/>
              <a:gd name="connsiteX296" fmla="*/ 3956415 w 8009775"/>
              <a:gd name="connsiteY296" fmla="*/ 1623061 h 6858000"/>
              <a:gd name="connsiteX297" fmla="*/ 3961735 w 8009775"/>
              <a:gd name="connsiteY297" fmla="*/ 1620204 h 6858000"/>
              <a:gd name="connsiteX298" fmla="*/ 3967055 w 8009775"/>
              <a:gd name="connsiteY298" fmla="*/ 1617345 h 6858000"/>
              <a:gd name="connsiteX299" fmla="*/ 3972376 w 8009775"/>
              <a:gd name="connsiteY299" fmla="*/ 1613854 h 6858000"/>
              <a:gd name="connsiteX300" fmla="*/ 3977400 w 8009775"/>
              <a:gd name="connsiteY300" fmla="*/ 1610361 h 6858000"/>
              <a:gd name="connsiteX301" fmla="*/ 3982425 w 8009775"/>
              <a:gd name="connsiteY301" fmla="*/ 1606869 h 6858000"/>
              <a:gd name="connsiteX302" fmla="*/ 3986858 w 8009775"/>
              <a:gd name="connsiteY302" fmla="*/ 1602423 h 6858000"/>
              <a:gd name="connsiteX303" fmla="*/ 3991587 w 8009775"/>
              <a:gd name="connsiteY303" fmla="*/ 1598296 h 6858000"/>
              <a:gd name="connsiteX304" fmla="*/ 3996021 w 8009775"/>
              <a:gd name="connsiteY304" fmla="*/ 1593533 h 6858000"/>
              <a:gd name="connsiteX305" fmla="*/ 4000159 w 8009775"/>
              <a:gd name="connsiteY305" fmla="*/ 1588771 h 6858000"/>
              <a:gd name="connsiteX306" fmla="*/ 4003705 w 8009775"/>
              <a:gd name="connsiteY306" fmla="*/ 1583691 h 6858000"/>
              <a:gd name="connsiteX307" fmla="*/ 4007548 w 8009775"/>
              <a:gd name="connsiteY307" fmla="*/ 1578928 h 6858000"/>
              <a:gd name="connsiteX308" fmla="*/ 4010799 w 8009775"/>
              <a:gd name="connsiteY308" fmla="*/ 1573849 h 6858000"/>
              <a:gd name="connsiteX309" fmla="*/ 4013459 w 8009775"/>
              <a:gd name="connsiteY309" fmla="*/ 1568451 h 6858000"/>
              <a:gd name="connsiteX310" fmla="*/ 4016415 w 8009775"/>
              <a:gd name="connsiteY310" fmla="*/ 1563054 h 6858000"/>
              <a:gd name="connsiteX311" fmla="*/ 4018484 w 8009775"/>
              <a:gd name="connsiteY311" fmla="*/ 1557339 h 6858000"/>
              <a:gd name="connsiteX312" fmla="*/ 4020848 w 8009775"/>
              <a:gd name="connsiteY312" fmla="*/ 1551941 h 6858000"/>
              <a:gd name="connsiteX313" fmla="*/ 4022621 w 8009775"/>
              <a:gd name="connsiteY313" fmla="*/ 1546226 h 6858000"/>
              <a:gd name="connsiteX314" fmla="*/ 4024395 w 8009775"/>
              <a:gd name="connsiteY314" fmla="*/ 1540511 h 6858000"/>
              <a:gd name="connsiteX315" fmla="*/ 4025282 w 8009775"/>
              <a:gd name="connsiteY315" fmla="*/ 1534478 h 6858000"/>
              <a:gd name="connsiteX316" fmla="*/ 4026464 w 8009775"/>
              <a:gd name="connsiteY316" fmla="*/ 1528763 h 6858000"/>
              <a:gd name="connsiteX317" fmla="*/ 4027055 w 8009775"/>
              <a:gd name="connsiteY317" fmla="*/ 1522731 h 6858000"/>
              <a:gd name="connsiteX318" fmla="*/ 4027646 w 8009775"/>
              <a:gd name="connsiteY318" fmla="*/ 1517016 h 6858000"/>
              <a:gd name="connsiteX319" fmla="*/ 4027646 w 8009775"/>
              <a:gd name="connsiteY319" fmla="*/ 1510984 h 6858000"/>
              <a:gd name="connsiteX320" fmla="*/ 4027646 w 8009775"/>
              <a:gd name="connsiteY320" fmla="*/ 1505268 h 6858000"/>
              <a:gd name="connsiteX321" fmla="*/ 4027055 w 8009775"/>
              <a:gd name="connsiteY321" fmla="*/ 1499553 h 6858000"/>
              <a:gd name="connsiteX322" fmla="*/ 4026464 w 8009775"/>
              <a:gd name="connsiteY322" fmla="*/ 1493204 h 6858000"/>
              <a:gd name="connsiteX323" fmla="*/ 4025282 w 8009775"/>
              <a:gd name="connsiteY323" fmla="*/ 1487489 h 6858000"/>
              <a:gd name="connsiteX324" fmla="*/ 4024395 w 8009775"/>
              <a:gd name="connsiteY324" fmla="*/ 1481773 h 6858000"/>
              <a:gd name="connsiteX325" fmla="*/ 4022621 w 8009775"/>
              <a:gd name="connsiteY325" fmla="*/ 1476058 h 6858000"/>
              <a:gd name="connsiteX326" fmla="*/ 4020848 w 8009775"/>
              <a:gd name="connsiteY326" fmla="*/ 1470343 h 6858000"/>
              <a:gd name="connsiteX327" fmla="*/ 4018484 w 8009775"/>
              <a:gd name="connsiteY327" fmla="*/ 1464629 h 6858000"/>
              <a:gd name="connsiteX328" fmla="*/ 4016415 w 8009775"/>
              <a:gd name="connsiteY328" fmla="*/ 1459231 h 6858000"/>
              <a:gd name="connsiteX329" fmla="*/ 4013459 w 8009775"/>
              <a:gd name="connsiteY329" fmla="*/ 1453834 h 6858000"/>
              <a:gd name="connsiteX330" fmla="*/ 4010799 w 8009775"/>
              <a:gd name="connsiteY330" fmla="*/ 1448436 h 6858000"/>
              <a:gd name="connsiteX331" fmla="*/ 4007548 w 8009775"/>
              <a:gd name="connsiteY331" fmla="*/ 1443356 h 6858000"/>
              <a:gd name="connsiteX332" fmla="*/ 4003705 w 8009775"/>
              <a:gd name="connsiteY332" fmla="*/ 1438275 h 6858000"/>
              <a:gd name="connsiteX333" fmla="*/ 4000159 w 8009775"/>
              <a:gd name="connsiteY333" fmla="*/ 1433195 h 6858000"/>
              <a:gd name="connsiteX334" fmla="*/ 3996021 w 8009775"/>
              <a:gd name="connsiteY334" fmla="*/ 1428751 h 6858000"/>
              <a:gd name="connsiteX335" fmla="*/ 3991587 w 8009775"/>
              <a:gd name="connsiteY335" fmla="*/ 1423988 h 6858000"/>
              <a:gd name="connsiteX336" fmla="*/ 3323022 w 8009775"/>
              <a:gd name="connsiteY336" fmla="*/ 755333 h 6858000"/>
              <a:gd name="connsiteX337" fmla="*/ 3316815 w 8009775"/>
              <a:gd name="connsiteY337" fmla="*/ 748348 h 6858000"/>
              <a:gd name="connsiteX338" fmla="*/ 3310904 w 8009775"/>
              <a:gd name="connsiteY338" fmla="*/ 741045 h 6858000"/>
              <a:gd name="connsiteX339" fmla="*/ 3305584 w 8009775"/>
              <a:gd name="connsiteY339" fmla="*/ 733108 h 6858000"/>
              <a:gd name="connsiteX340" fmla="*/ 3300855 w 8009775"/>
              <a:gd name="connsiteY340" fmla="*/ 725170 h 6858000"/>
              <a:gd name="connsiteX341" fmla="*/ 3297308 w 8009775"/>
              <a:gd name="connsiteY341" fmla="*/ 716915 h 6858000"/>
              <a:gd name="connsiteX342" fmla="*/ 3293761 w 8009775"/>
              <a:gd name="connsiteY342" fmla="*/ 708660 h 6858000"/>
              <a:gd name="connsiteX343" fmla="*/ 3291101 w 8009775"/>
              <a:gd name="connsiteY343" fmla="*/ 699770 h 6858000"/>
              <a:gd name="connsiteX344" fmla="*/ 3289328 w 8009775"/>
              <a:gd name="connsiteY344" fmla="*/ 691198 h 6858000"/>
              <a:gd name="connsiteX345" fmla="*/ 2596527 w 8009775"/>
              <a:gd name="connsiteY345" fmla="*/ 0 h 6858000"/>
              <a:gd name="connsiteX0" fmla="*/ 2596527 w 8009775"/>
              <a:gd name="connsiteY0" fmla="*/ 0 h 6858000"/>
              <a:gd name="connsiteX1" fmla="*/ 2165004 w 8009775"/>
              <a:gd name="connsiteY1" fmla="*/ 0 h 6858000"/>
              <a:gd name="connsiteX2" fmla="*/ 3265978 w 8009775"/>
              <a:gd name="connsiteY2" fmla="*/ 1101091 h 6858000"/>
              <a:gd name="connsiteX3" fmla="*/ 3270708 w 8009775"/>
              <a:gd name="connsiteY3" fmla="*/ 1105854 h 6858000"/>
              <a:gd name="connsiteX4" fmla="*/ 3274550 w 8009775"/>
              <a:gd name="connsiteY4" fmla="*/ 1110615 h 6858000"/>
              <a:gd name="connsiteX5" fmla="*/ 3278688 w 8009775"/>
              <a:gd name="connsiteY5" fmla="*/ 1115696 h 6858000"/>
              <a:gd name="connsiteX6" fmla="*/ 3282234 w 8009775"/>
              <a:gd name="connsiteY6" fmla="*/ 1120776 h 6858000"/>
              <a:gd name="connsiteX7" fmla="*/ 3285486 w 8009775"/>
              <a:gd name="connsiteY7" fmla="*/ 1126174 h 6858000"/>
              <a:gd name="connsiteX8" fmla="*/ 3288146 w 8009775"/>
              <a:gd name="connsiteY8" fmla="*/ 1131570 h 6858000"/>
              <a:gd name="connsiteX9" fmla="*/ 3291101 w 8009775"/>
              <a:gd name="connsiteY9" fmla="*/ 1136968 h 6858000"/>
              <a:gd name="connsiteX10" fmla="*/ 3293761 w 8009775"/>
              <a:gd name="connsiteY10" fmla="*/ 1142366 h 6858000"/>
              <a:gd name="connsiteX11" fmla="*/ 3295830 w 8009775"/>
              <a:gd name="connsiteY11" fmla="*/ 1148081 h 6858000"/>
              <a:gd name="connsiteX12" fmla="*/ 3297604 w 8009775"/>
              <a:gd name="connsiteY12" fmla="*/ 1153796 h 6858000"/>
              <a:gd name="connsiteX13" fmla="*/ 3299082 w 8009775"/>
              <a:gd name="connsiteY13" fmla="*/ 1159829 h 6858000"/>
              <a:gd name="connsiteX14" fmla="*/ 3300559 w 8009775"/>
              <a:gd name="connsiteY14" fmla="*/ 1165544 h 6858000"/>
              <a:gd name="connsiteX15" fmla="*/ 3301446 w 8009775"/>
              <a:gd name="connsiteY15" fmla="*/ 1171893 h 6858000"/>
              <a:gd name="connsiteX16" fmla="*/ 3302333 w 8009775"/>
              <a:gd name="connsiteY16" fmla="*/ 1177608 h 6858000"/>
              <a:gd name="connsiteX17" fmla="*/ 3302628 w 8009775"/>
              <a:gd name="connsiteY17" fmla="*/ 1183641 h 6858000"/>
              <a:gd name="connsiteX18" fmla="*/ 3302628 w 8009775"/>
              <a:gd name="connsiteY18" fmla="*/ 1189356 h 6858000"/>
              <a:gd name="connsiteX19" fmla="*/ 3302628 w 8009775"/>
              <a:gd name="connsiteY19" fmla="*/ 1195388 h 6858000"/>
              <a:gd name="connsiteX20" fmla="*/ 3302333 w 8009775"/>
              <a:gd name="connsiteY20" fmla="*/ 1201739 h 6858000"/>
              <a:gd name="connsiteX21" fmla="*/ 3301446 w 8009775"/>
              <a:gd name="connsiteY21" fmla="*/ 1207454 h 6858000"/>
              <a:gd name="connsiteX22" fmla="*/ 3300559 w 8009775"/>
              <a:gd name="connsiteY22" fmla="*/ 1213486 h 6858000"/>
              <a:gd name="connsiteX23" fmla="*/ 3299082 w 8009775"/>
              <a:gd name="connsiteY23" fmla="*/ 1219200 h 6858000"/>
              <a:gd name="connsiteX24" fmla="*/ 3297604 w 8009775"/>
              <a:gd name="connsiteY24" fmla="*/ 1225233 h 6858000"/>
              <a:gd name="connsiteX25" fmla="*/ 3295830 w 8009775"/>
              <a:gd name="connsiteY25" fmla="*/ 1230949 h 6858000"/>
              <a:gd name="connsiteX26" fmla="*/ 3293761 w 8009775"/>
              <a:gd name="connsiteY26" fmla="*/ 1236346 h 6858000"/>
              <a:gd name="connsiteX27" fmla="*/ 3291101 w 8009775"/>
              <a:gd name="connsiteY27" fmla="*/ 1242061 h 6858000"/>
              <a:gd name="connsiteX28" fmla="*/ 3288146 w 8009775"/>
              <a:gd name="connsiteY28" fmla="*/ 1247459 h 6858000"/>
              <a:gd name="connsiteX29" fmla="*/ 3285486 w 8009775"/>
              <a:gd name="connsiteY29" fmla="*/ 1252855 h 6858000"/>
              <a:gd name="connsiteX30" fmla="*/ 3282234 w 8009775"/>
              <a:gd name="connsiteY30" fmla="*/ 1258254 h 6858000"/>
              <a:gd name="connsiteX31" fmla="*/ 3278688 w 8009775"/>
              <a:gd name="connsiteY31" fmla="*/ 1263333 h 6858000"/>
              <a:gd name="connsiteX32" fmla="*/ 3274550 w 8009775"/>
              <a:gd name="connsiteY32" fmla="*/ 1268413 h 6858000"/>
              <a:gd name="connsiteX33" fmla="*/ 3270708 w 8009775"/>
              <a:gd name="connsiteY33" fmla="*/ 1273494 h 6858000"/>
              <a:gd name="connsiteX34" fmla="*/ 3265978 w 8009775"/>
              <a:gd name="connsiteY34" fmla="*/ 1278255 h 6858000"/>
              <a:gd name="connsiteX35" fmla="*/ 3261249 w 8009775"/>
              <a:gd name="connsiteY35" fmla="*/ 1282384 h 6858000"/>
              <a:gd name="connsiteX36" fmla="*/ 3256816 w 8009775"/>
              <a:gd name="connsiteY36" fmla="*/ 1286510 h 6858000"/>
              <a:gd name="connsiteX37" fmla="*/ 3251791 w 8009775"/>
              <a:gd name="connsiteY37" fmla="*/ 1290321 h 6858000"/>
              <a:gd name="connsiteX38" fmla="*/ 3246767 w 8009775"/>
              <a:gd name="connsiteY38" fmla="*/ 1293814 h 6858000"/>
              <a:gd name="connsiteX39" fmla="*/ 3241151 w 8009775"/>
              <a:gd name="connsiteY39" fmla="*/ 1297306 h 6858000"/>
              <a:gd name="connsiteX40" fmla="*/ 3235831 w 8009775"/>
              <a:gd name="connsiteY40" fmla="*/ 1300481 h 6858000"/>
              <a:gd name="connsiteX41" fmla="*/ 3230511 w 8009775"/>
              <a:gd name="connsiteY41" fmla="*/ 1303021 h 6858000"/>
              <a:gd name="connsiteX42" fmla="*/ 3224600 w 8009775"/>
              <a:gd name="connsiteY42" fmla="*/ 1305560 h 6858000"/>
              <a:gd name="connsiteX43" fmla="*/ 3218984 w 8009775"/>
              <a:gd name="connsiteY43" fmla="*/ 1307465 h 6858000"/>
              <a:gd name="connsiteX44" fmla="*/ 3213072 w 8009775"/>
              <a:gd name="connsiteY44" fmla="*/ 1309371 h 6858000"/>
              <a:gd name="connsiteX45" fmla="*/ 3207457 w 8009775"/>
              <a:gd name="connsiteY45" fmla="*/ 1311275 h 6858000"/>
              <a:gd name="connsiteX46" fmla="*/ 3201841 w 8009775"/>
              <a:gd name="connsiteY46" fmla="*/ 1312228 h 6858000"/>
              <a:gd name="connsiteX47" fmla="*/ 3195634 w 8009775"/>
              <a:gd name="connsiteY47" fmla="*/ 1313180 h 6858000"/>
              <a:gd name="connsiteX48" fmla="*/ 3189428 w 8009775"/>
              <a:gd name="connsiteY48" fmla="*/ 1314133 h 6858000"/>
              <a:gd name="connsiteX49" fmla="*/ 3183812 w 8009775"/>
              <a:gd name="connsiteY49" fmla="*/ 1314450 h 6858000"/>
              <a:gd name="connsiteX50" fmla="*/ 3177605 w 8009775"/>
              <a:gd name="connsiteY50" fmla="*/ 1314769 h 6858000"/>
              <a:gd name="connsiteX51" fmla="*/ 3171694 w 8009775"/>
              <a:gd name="connsiteY51" fmla="*/ 1314450 h 6858000"/>
              <a:gd name="connsiteX52" fmla="*/ 3165782 w 8009775"/>
              <a:gd name="connsiteY52" fmla="*/ 1314133 h 6858000"/>
              <a:gd name="connsiteX53" fmla="*/ 3159576 w 8009775"/>
              <a:gd name="connsiteY53" fmla="*/ 1313180 h 6858000"/>
              <a:gd name="connsiteX54" fmla="*/ 3153960 w 8009775"/>
              <a:gd name="connsiteY54" fmla="*/ 1312228 h 6858000"/>
              <a:gd name="connsiteX55" fmla="*/ 3147753 w 8009775"/>
              <a:gd name="connsiteY55" fmla="*/ 1311275 h 6858000"/>
              <a:gd name="connsiteX56" fmla="*/ 3142137 w 8009775"/>
              <a:gd name="connsiteY56" fmla="*/ 1309371 h 6858000"/>
              <a:gd name="connsiteX57" fmla="*/ 3136226 w 8009775"/>
              <a:gd name="connsiteY57" fmla="*/ 1307465 h 6858000"/>
              <a:gd name="connsiteX58" fmla="*/ 3130610 w 8009775"/>
              <a:gd name="connsiteY58" fmla="*/ 1305560 h 6858000"/>
              <a:gd name="connsiteX59" fmla="*/ 3124994 w 8009775"/>
              <a:gd name="connsiteY59" fmla="*/ 1303021 h 6858000"/>
              <a:gd name="connsiteX60" fmla="*/ 3119379 w 8009775"/>
              <a:gd name="connsiteY60" fmla="*/ 1300481 h 6858000"/>
              <a:gd name="connsiteX61" fmla="*/ 3114059 w 8009775"/>
              <a:gd name="connsiteY61" fmla="*/ 1297306 h 6858000"/>
              <a:gd name="connsiteX62" fmla="*/ 3109034 w 8009775"/>
              <a:gd name="connsiteY62" fmla="*/ 1293814 h 6858000"/>
              <a:gd name="connsiteX63" fmla="*/ 3103714 w 8009775"/>
              <a:gd name="connsiteY63" fmla="*/ 1290321 h 6858000"/>
              <a:gd name="connsiteX64" fmla="*/ 3098689 w 8009775"/>
              <a:gd name="connsiteY64" fmla="*/ 1286510 h 6858000"/>
              <a:gd name="connsiteX65" fmla="*/ 3093960 w 8009775"/>
              <a:gd name="connsiteY65" fmla="*/ 1282384 h 6858000"/>
              <a:gd name="connsiteX66" fmla="*/ 3089231 w 8009775"/>
              <a:gd name="connsiteY66" fmla="*/ 1278255 h 6858000"/>
              <a:gd name="connsiteX67" fmla="*/ 1811214 w 8009775"/>
              <a:gd name="connsiteY67" fmla="*/ 0 h 6858000"/>
              <a:gd name="connsiteX68" fmla="*/ 0 w 8009775"/>
              <a:gd name="connsiteY68" fmla="*/ 0 h 6858000"/>
              <a:gd name="connsiteX69" fmla="*/ 0 w 8009775"/>
              <a:gd name="connsiteY69" fmla="*/ 6858000 h 6858000"/>
              <a:gd name="connsiteX70" fmla="*/ 8009775 w 8009775"/>
              <a:gd name="connsiteY70" fmla="*/ 6858000 h 6858000"/>
              <a:gd name="connsiteX71" fmla="*/ 3996316 w 8009775"/>
              <a:gd name="connsiteY71" fmla="*/ 2818448 h 6858000"/>
              <a:gd name="connsiteX72" fmla="*/ 3980947 w 8009775"/>
              <a:gd name="connsiteY72" fmla="*/ 2804795 h 6858000"/>
              <a:gd name="connsiteX73" fmla="*/ 3965282 w 8009775"/>
              <a:gd name="connsiteY73" fmla="*/ 2791144 h 6858000"/>
              <a:gd name="connsiteX74" fmla="*/ 3001744 w 8009775"/>
              <a:gd name="connsiteY74" fmla="*/ 1828166 h 6858000"/>
              <a:gd name="connsiteX75" fmla="*/ 2997311 w 8009775"/>
              <a:gd name="connsiteY75" fmla="*/ 1823404 h 6858000"/>
              <a:gd name="connsiteX76" fmla="*/ 2992878 w 8009775"/>
              <a:gd name="connsiteY76" fmla="*/ 1818640 h 6858000"/>
              <a:gd name="connsiteX77" fmla="*/ 2989331 w 8009775"/>
              <a:gd name="connsiteY77" fmla="*/ 1814195 h 6858000"/>
              <a:gd name="connsiteX78" fmla="*/ 2985784 w 8009775"/>
              <a:gd name="connsiteY78" fmla="*/ 1808799 h 6858000"/>
              <a:gd name="connsiteX79" fmla="*/ 2982533 w 8009775"/>
              <a:gd name="connsiteY79" fmla="*/ 1803718 h 6858000"/>
              <a:gd name="connsiteX80" fmla="*/ 2979873 w 8009775"/>
              <a:gd name="connsiteY80" fmla="*/ 1798321 h 6858000"/>
              <a:gd name="connsiteX81" fmla="*/ 2976917 w 8009775"/>
              <a:gd name="connsiteY81" fmla="*/ 1792924 h 6858000"/>
              <a:gd name="connsiteX82" fmla="*/ 2974552 w 8009775"/>
              <a:gd name="connsiteY82" fmla="*/ 1787526 h 6858000"/>
              <a:gd name="connsiteX83" fmla="*/ 2972484 w 8009775"/>
              <a:gd name="connsiteY83" fmla="*/ 1781811 h 6858000"/>
              <a:gd name="connsiteX84" fmla="*/ 2970710 w 8009775"/>
              <a:gd name="connsiteY84" fmla="*/ 1776095 h 6858000"/>
              <a:gd name="connsiteX85" fmla="*/ 2968937 w 8009775"/>
              <a:gd name="connsiteY85" fmla="*/ 1770380 h 6858000"/>
              <a:gd name="connsiteX86" fmla="*/ 2967755 w 8009775"/>
              <a:gd name="connsiteY86" fmla="*/ 1764665 h 6858000"/>
              <a:gd name="connsiteX87" fmla="*/ 2966868 w 8009775"/>
              <a:gd name="connsiteY87" fmla="*/ 1758634 h 6858000"/>
              <a:gd name="connsiteX88" fmla="*/ 2965981 w 8009775"/>
              <a:gd name="connsiteY88" fmla="*/ 1752919 h 6858000"/>
              <a:gd name="connsiteX89" fmla="*/ 2965686 w 8009775"/>
              <a:gd name="connsiteY89" fmla="*/ 1746885 h 6858000"/>
              <a:gd name="connsiteX90" fmla="*/ 2965686 w 8009775"/>
              <a:gd name="connsiteY90" fmla="*/ 1741170 h 6858000"/>
              <a:gd name="connsiteX91" fmla="*/ 2965686 w 8009775"/>
              <a:gd name="connsiteY91" fmla="*/ 1735139 h 6858000"/>
              <a:gd name="connsiteX92" fmla="*/ 2965981 w 8009775"/>
              <a:gd name="connsiteY92" fmla="*/ 1729424 h 6858000"/>
              <a:gd name="connsiteX93" fmla="*/ 2966868 w 8009775"/>
              <a:gd name="connsiteY93" fmla="*/ 1723074 h 6858000"/>
              <a:gd name="connsiteX94" fmla="*/ 2967755 w 8009775"/>
              <a:gd name="connsiteY94" fmla="*/ 1717358 h 6858000"/>
              <a:gd name="connsiteX95" fmla="*/ 2968937 w 8009775"/>
              <a:gd name="connsiteY95" fmla="*/ 1711643 h 6858000"/>
              <a:gd name="connsiteX96" fmla="*/ 2970710 w 8009775"/>
              <a:gd name="connsiteY96" fmla="*/ 1705929 h 6858000"/>
              <a:gd name="connsiteX97" fmla="*/ 2972484 w 8009775"/>
              <a:gd name="connsiteY97" fmla="*/ 1700214 h 6858000"/>
              <a:gd name="connsiteX98" fmla="*/ 2974552 w 8009775"/>
              <a:gd name="connsiteY98" fmla="*/ 1694816 h 6858000"/>
              <a:gd name="connsiteX99" fmla="*/ 2976917 w 8009775"/>
              <a:gd name="connsiteY99" fmla="*/ 1689101 h 6858000"/>
              <a:gd name="connsiteX100" fmla="*/ 2979873 w 8009775"/>
              <a:gd name="connsiteY100" fmla="*/ 1683703 h 6858000"/>
              <a:gd name="connsiteX101" fmla="*/ 2982533 w 8009775"/>
              <a:gd name="connsiteY101" fmla="*/ 1678305 h 6858000"/>
              <a:gd name="connsiteX102" fmla="*/ 2985784 w 8009775"/>
              <a:gd name="connsiteY102" fmla="*/ 1673226 h 6858000"/>
              <a:gd name="connsiteX103" fmla="*/ 2989331 w 8009775"/>
              <a:gd name="connsiteY103" fmla="*/ 1668145 h 6858000"/>
              <a:gd name="connsiteX104" fmla="*/ 2992878 w 8009775"/>
              <a:gd name="connsiteY104" fmla="*/ 1663066 h 6858000"/>
              <a:gd name="connsiteX105" fmla="*/ 2997311 w 8009775"/>
              <a:gd name="connsiteY105" fmla="*/ 1658621 h 6858000"/>
              <a:gd name="connsiteX106" fmla="*/ 3001744 w 8009775"/>
              <a:gd name="connsiteY106" fmla="*/ 1653859 h 6858000"/>
              <a:gd name="connsiteX107" fmla="*/ 3006178 w 8009775"/>
              <a:gd name="connsiteY107" fmla="*/ 1649414 h 6858000"/>
              <a:gd name="connsiteX108" fmla="*/ 3010907 w 8009775"/>
              <a:gd name="connsiteY108" fmla="*/ 1645603 h 6858000"/>
              <a:gd name="connsiteX109" fmla="*/ 3015932 w 8009775"/>
              <a:gd name="connsiteY109" fmla="*/ 1641794 h 6858000"/>
              <a:gd name="connsiteX110" fmla="*/ 3020956 w 8009775"/>
              <a:gd name="connsiteY110" fmla="*/ 1637984 h 6858000"/>
              <a:gd name="connsiteX111" fmla="*/ 3025981 w 8009775"/>
              <a:gd name="connsiteY111" fmla="*/ 1634809 h 6858000"/>
              <a:gd name="connsiteX112" fmla="*/ 3031596 w 8009775"/>
              <a:gd name="connsiteY112" fmla="*/ 1631950 h 6858000"/>
              <a:gd name="connsiteX113" fmla="*/ 3036916 w 8009775"/>
              <a:gd name="connsiteY113" fmla="*/ 1629094 h 6858000"/>
              <a:gd name="connsiteX114" fmla="*/ 3042532 w 8009775"/>
              <a:gd name="connsiteY114" fmla="*/ 1626871 h 6858000"/>
              <a:gd name="connsiteX115" fmla="*/ 3047852 w 8009775"/>
              <a:gd name="connsiteY115" fmla="*/ 1624649 h 6858000"/>
              <a:gd name="connsiteX116" fmla="*/ 3053764 w 8009775"/>
              <a:gd name="connsiteY116" fmla="*/ 1623061 h 6858000"/>
              <a:gd name="connsiteX117" fmla="*/ 3059379 w 8009775"/>
              <a:gd name="connsiteY117" fmla="*/ 1621155 h 6858000"/>
              <a:gd name="connsiteX118" fmla="*/ 3065291 w 8009775"/>
              <a:gd name="connsiteY118" fmla="*/ 1620204 h 6858000"/>
              <a:gd name="connsiteX119" fmla="*/ 3070906 w 8009775"/>
              <a:gd name="connsiteY119" fmla="*/ 1618934 h 6858000"/>
              <a:gd name="connsiteX120" fmla="*/ 3077113 w 8009775"/>
              <a:gd name="connsiteY120" fmla="*/ 1618299 h 6858000"/>
              <a:gd name="connsiteX121" fmla="*/ 3082729 w 8009775"/>
              <a:gd name="connsiteY121" fmla="*/ 1617981 h 6858000"/>
              <a:gd name="connsiteX122" fmla="*/ 3088936 w 8009775"/>
              <a:gd name="connsiteY122" fmla="*/ 1617981 h 6858000"/>
              <a:gd name="connsiteX123" fmla="*/ 3094552 w 8009775"/>
              <a:gd name="connsiteY123" fmla="*/ 1617981 h 6858000"/>
              <a:gd name="connsiteX124" fmla="*/ 3100758 w 8009775"/>
              <a:gd name="connsiteY124" fmla="*/ 1618299 h 6858000"/>
              <a:gd name="connsiteX125" fmla="*/ 3106670 w 8009775"/>
              <a:gd name="connsiteY125" fmla="*/ 1618934 h 6858000"/>
              <a:gd name="connsiteX126" fmla="*/ 3112285 w 8009775"/>
              <a:gd name="connsiteY126" fmla="*/ 1620204 h 6858000"/>
              <a:gd name="connsiteX127" fmla="*/ 3117901 w 8009775"/>
              <a:gd name="connsiteY127" fmla="*/ 1621155 h 6858000"/>
              <a:gd name="connsiteX128" fmla="*/ 3123812 w 8009775"/>
              <a:gd name="connsiteY128" fmla="*/ 1623061 h 6858000"/>
              <a:gd name="connsiteX129" fmla="*/ 3129428 w 8009775"/>
              <a:gd name="connsiteY129" fmla="*/ 1624649 h 6858000"/>
              <a:gd name="connsiteX130" fmla="*/ 3135339 w 8009775"/>
              <a:gd name="connsiteY130" fmla="*/ 1626871 h 6858000"/>
              <a:gd name="connsiteX131" fmla="*/ 3140660 w 8009775"/>
              <a:gd name="connsiteY131" fmla="*/ 1629094 h 6858000"/>
              <a:gd name="connsiteX132" fmla="*/ 3145980 w 8009775"/>
              <a:gd name="connsiteY132" fmla="*/ 1631950 h 6858000"/>
              <a:gd name="connsiteX133" fmla="*/ 3151300 w 8009775"/>
              <a:gd name="connsiteY133" fmla="*/ 1634809 h 6858000"/>
              <a:gd name="connsiteX134" fmla="*/ 3156324 w 8009775"/>
              <a:gd name="connsiteY134" fmla="*/ 1637984 h 6858000"/>
              <a:gd name="connsiteX135" fmla="*/ 3161349 w 8009775"/>
              <a:gd name="connsiteY135" fmla="*/ 1641794 h 6858000"/>
              <a:gd name="connsiteX136" fmla="*/ 3166374 w 8009775"/>
              <a:gd name="connsiteY136" fmla="*/ 1645603 h 6858000"/>
              <a:gd name="connsiteX137" fmla="*/ 3171102 w 8009775"/>
              <a:gd name="connsiteY137" fmla="*/ 1649414 h 6858000"/>
              <a:gd name="connsiteX138" fmla="*/ 3175832 w 8009775"/>
              <a:gd name="connsiteY138" fmla="*/ 1653859 h 6858000"/>
              <a:gd name="connsiteX139" fmla="*/ 3844692 w 8009775"/>
              <a:gd name="connsiteY139" fmla="*/ 2322830 h 6858000"/>
              <a:gd name="connsiteX140" fmla="*/ 3849421 w 8009775"/>
              <a:gd name="connsiteY140" fmla="*/ 2326958 h 6858000"/>
              <a:gd name="connsiteX141" fmla="*/ 3854150 w 8009775"/>
              <a:gd name="connsiteY141" fmla="*/ 2331085 h 6858000"/>
              <a:gd name="connsiteX142" fmla="*/ 3859175 w 8009775"/>
              <a:gd name="connsiteY142" fmla="*/ 2334895 h 6858000"/>
              <a:gd name="connsiteX143" fmla="*/ 3864199 w 8009775"/>
              <a:gd name="connsiteY143" fmla="*/ 2338705 h 6858000"/>
              <a:gd name="connsiteX144" fmla="*/ 3869224 w 8009775"/>
              <a:gd name="connsiteY144" fmla="*/ 2341880 h 6858000"/>
              <a:gd name="connsiteX145" fmla="*/ 3874544 w 8009775"/>
              <a:gd name="connsiteY145" fmla="*/ 2344738 h 6858000"/>
              <a:gd name="connsiteX146" fmla="*/ 3879864 w 8009775"/>
              <a:gd name="connsiteY146" fmla="*/ 2347595 h 6858000"/>
              <a:gd name="connsiteX147" fmla="*/ 3885775 w 8009775"/>
              <a:gd name="connsiteY147" fmla="*/ 2349818 h 6858000"/>
              <a:gd name="connsiteX148" fmla="*/ 3891096 w 8009775"/>
              <a:gd name="connsiteY148" fmla="*/ 2351723 h 6858000"/>
              <a:gd name="connsiteX149" fmla="*/ 3896711 w 8009775"/>
              <a:gd name="connsiteY149" fmla="*/ 2353628 h 6858000"/>
              <a:gd name="connsiteX150" fmla="*/ 3902623 w 8009775"/>
              <a:gd name="connsiteY150" fmla="*/ 2355534 h 6858000"/>
              <a:gd name="connsiteX151" fmla="*/ 3908238 w 8009775"/>
              <a:gd name="connsiteY151" fmla="*/ 2356485 h 6858000"/>
              <a:gd name="connsiteX152" fmla="*/ 3914150 w 8009775"/>
              <a:gd name="connsiteY152" fmla="*/ 2357755 h 6858000"/>
              <a:gd name="connsiteX153" fmla="*/ 3920061 w 8009775"/>
              <a:gd name="connsiteY153" fmla="*/ 2358391 h 6858000"/>
              <a:gd name="connsiteX154" fmla="*/ 3925972 w 8009775"/>
              <a:gd name="connsiteY154" fmla="*/ 2358708 h 6858000"/>
              <a:gd name="connsiteX155" fmla="*/ 3931883 w 8009775"/>
              <a:gd name="connsiteY155" fmla="*/ 2358708 h 6858000"/>
              <a:gd name="connsiteX156" fmla="*/ 3937795 w 8009775"/>
              <a:gd name="connsiteY156" fmla="*/ 2358708 h 6858000"/>
              <a:gd name="connsiteX157" fmla="*/ 3943706 w 8009775"/>
              <a:gd name="connsiteY157" fmla="*/ 2358391 h 6858000"/>
              <a:gd name="connsiteX158" fmla="*/ 3949617 w 8009775"/>
              <a:gd name="connsiteY158" fmla="*/ 2357755 h 6858000"/>
              <a:gd name="connsiteX159" fmla="*/ 3955233 w 8009775"/>
              <a:gd name="connsiteY159" fmla="*/ 2356485 h 6858000"/>
              <a:gd name="connsiteX160" fmla="*/ 3961144 w 8009775"/>
              <a:gd name="connsiteY160" fmla="*/ 2355534 h 6858000"/>
              <a:gd name="connsiteX161" fmla="*/ 3966760 w 8009775"/>
              <a:gd name="connsiteY161" fmla="*/ 2353628 h 6858000"/>
              <a:gd name="connsiteX162" fmla="*/ 3972671 w 8009775"/>
              <a:gd name="connsiteY162" fmla="*/ 2351723 h 6858000"/>
              <a:gd name="connsiteX163" fmla="*/ 3978287 w 8009775"/>
              <a:gd name="connsiteY163" fmla="*/ 2349818 h 6858000"/>
              <a:gd name="connsiteX164" fmla="*/ 3983607 w 8009775"/>
              <a:gd name="connsiteY164" fmla="*/ 2347595 h 6858000"/>
              <a:gd name="connsiteX165" fmla="*/ 3989223 w 8009775"/>
              <a:gd name="connsiteY165" fmla="*/ 2344738 h 6858000"/>
              <a:gd name="connsiteX166" fmla="*/ 3994543 w 8009775"/>
              <a:gd name="connsiteY166" fmla="*/ 2341880 h 6858000"/>
              <a:gd name="connsiteX167" fmla="*/ 3999567 w 8009775"/>
              <a:gd name="connsiteY167" fmla="*/ 2338705 h 6858000"/>
              <a:gd name="connsiteX168" fmla="*/ 4004888 w 8009775"/>
              <a:gd name="connsiteY168" fmla="*/ 2334895 h 6858000"/>
              <a:gd name="connsiteX169" fmla="*/ 4009617 w 8009775"/>
              <a:gd name="connsiteY169" fmla="*/ 2331085 h 6858000"/>
              <a:gd name="connsiteX170" fmla="*/ 4014346 w 8009775"/>
              <a:gd name="connsiteY170" fmla="*/ 2326958 h 6858000"/>
              <a:gd name="connsiteX171" fmla="*/ 4018779 w 8009775"/>
              <a:gd name="connsiteY171" fmla="*/ 2322830 h 6858000"/>
              <a:gd name="connsiteX172" fmla="*/ 4023213 w 8009775"/>
              <a:gd name="connsiteY172" fmla="*/ 2318068 h 6858000"/>
              <a:gd name="connsiteX173" fmla="*/ 4027646 w 8009775"/>
              <a:gd name="connsiteY173" fmla="*/ 2313306 h 6858000"/>
              <a:gd name="connsiteX174" fmla="*/ 4031193 w 8009775"/>
              <a:gd name="connsiteY174" fmla="*/ 2308544 h 6858000"/>
              <a:gd name="connsiteX175" fmla="*/ 4034740 w 8009775"/>
              <a:gd name="connsiteY175" fmla="*/ 2303463 h 6858000"/>
              <a:gd name="connsiteX176" fmla="*/ 4037991 w 8009775"/>
              <a:gd name="connsiteY176" fmla="*/ 2298384 h 6858000"/>
              <a:gd name="connsiteX177" fmla="*/ 4040946 w 8009775"/>
              <a:gd name="connsiteY177" fmla="*/ 2292985 h 6858000"/>
              <a:gd name="connsiteX178" fmla="*/ 4043606 w 8009775"/>
              <a:gd name="connsiteY178" fmla="*/ 2287588 h 6858000"/>
              <a:gd name="connsiteX179" fmla="*/ 4046267 w 8009775"/>
              <a:gd name="connsiteY179" fmla="*/ 2281873 h 6858000"/>
              <a:gd name="connsiteX180" fmla="*/ 4048040 w 8009775"/>
              <a:gd name="connsiteY180" fmla="*/ 2276476 h 6858000"/>
              <a:gd name="connsiteX181" fmla="*/ 4050109 w 8009775"/>
              <a:gd name="connsiteY181" fmla="*/ 2270761 h 6858000"/>
              <a:gd name="connsiteX182" fmla="*/ 4051587 w 8009775"/>
              <a:gd name="connsiteY182" fmla="*/ 2265046 h 6858000"/>
              <a:gd name="connsiteX183" fmla="*/ 4052769 w 8009775"/>
              <a:gd name="connsiteY183" fmla="*/ 2259331 h 6858000"/>
              <a:gd name="connsiteX184" fmla="*/ 4053656 w 8009775"/>
              <a:gd name="connsiteY184" fmla="*/ 2253298 h 6858000"/>
              <a:gd name="connsiteX185" fmla="*/ 4054542 w 8009775"/>
              <a:gd name="connsiteY185" fmla="*/ 2247266 h 6858000"/>
              <a:gd name="connsiteX186" fmla="*/ 4054838 w 8009775"/>
              <a:gd name="connsiteY186" fmla="*/ 2241551 h 6858000"/>
              <a:gd name="connsiteX187" fmla="*/ 4055133 w 8009775"/>
              <a:gd name="connsiteY187" fmla="*/ 2235519 h 6858000"/>
              <a:gd name="connsiteX188" fmla="*/ 4054838 w 8009775"/>
              <a:gd name="connsiteY188" fmla="*/ 2229804 h 6858000"/>
              <a:gd name="connsiteX189" fmla="*/ 4054542 w 8009775"/>
              <a:gd name="connsiteY189" fmla="*/ 2223770 h 6858000"/>
              <a:gd name="connsiteX190" fmla="*/ 4053656 w 8009775"/>
              <a:gd name="connsiteY190" fmla="*/ 2217739 h 6858000"/>
              <a:gd name="connsiteX191" fmla="*/ 4052769 w 8009775"/>
              <a:gd name="connsiteY191" fmla="*/ 2212024 h 6858000"/>
              <a:gd name="connsiteX192" fmla="*/ 4051587 w 8009775"/>
              <a:gd name="connsiteY192" fmla="*/ 2206309 h 6858000"/>
              <a:gd name="connsiteX193" fmla="*/ 4050109 w 8009775"/>
              <a:gd name="connsiteY193" fmla="*/ 2200593 h 6858000"/>
              <a:gd name="connsiteX194" fmla="*/ 4048040 w 8009775"/>
              <a:gd name="connsiteY194" fmla="*/ 2194878 h 6858000"/>
              <a:gd name="connsiteX195" fmla="*/ 4046267 w 8009775"/>
              <a:gd name="connsiteY195" fmla="*/ 2189163 h 6858000"/>
              <a:gd name="connsiteX196" fmla="*/ 4043606 w 8009775"/>
              <a:gd name="connsiteY196" fmla="*/ 2183765 h 6858000"/>
              <a:gd name="connsiteX197" fmla="*/ 4040946 w 8009775"/>
              <a:gd name="connsiteY197" fmla="*/ 2178368 h 6858000"/>
              <a:gd name="connsiteX198" fmla="*/ 4037991 w 8009775"/>
              <a:gd name="connsiteY198" fmla="*/ 2172970 h 6858000"/>
              <a:gd name="connsiteX199" fmla="*/ 4034740 w 8009775"/>
              <a:gd name="connsiteY199" fmla="*/ 2167890 h 6858000"/>
              <a:gd name="connsiteX200" fmla="*/ 4031193 w 8009775"/>
              <a:gd name="connsiteY200" fmla="*/ 2162494 h 6858000"/>
              <a:gd name="connsiteX201" fmla="*/ 4027646 w 8009775"/>
              <a:gd name="connsiteY201" fmla="*/ 2157730 h 6858000"/>
              <a:gd name="connsiteX202" fmla="*/ 4023213 w 8009775"/>
              <a:gd name="connsiteY202" fmla="*/ 2153285 h 6858000"/>
              <a:gd name="connsiteX203" fmla="*/ 4018779 w 8009775"/>
              <a:gd name="connsiteY203" fmla="*/ 2148523 h 6858000"/>
              <a:gd name="connsiteX204" fmla="*/ 3632182 w 8009775"/>
              <a:gd name="connsiteY204" fmla="*/ 1761490 h 6858000"/>
              <a:gd name="connsiteX205" fmla="*/ 3435928 w 8009775"/>
              <a:gd name="connsiteY205" fmla="*/ 1565276 h 6858000"/>
              <a:gd name="connsiteX206" fmla="*/ 3431198 w 8009775"/>
              <a:gd name="connsiteY206" fmla="*/ 1560514 h 6858000"/>
              <a:gd name="connsiteX207" fmla="*/ 3427356 w 8009775"/>
              <a:gd name="connsiteY207" fmla="*/ 1555751 h 6858000"/>
              <a:gd name="connsiteX208" fmla="*/ 3423218 w 8009775"/>
              <a:gd name="connsiteY208" fmla="*/ 1550671 h 6858000"/>
              <a:gd name="connsiteX209" fmla="*/ 3420262 w 8009775"/>
              <a:gd name="connsiteY209" fmla="*/ 1545909 h 6858000"/>
              <a:gd name="connsiteX210" fmla="*/ 3417012 w 8009775"/>
              <a:gd name="connsiteY210" fmla="*/ 1540829 h 6858000"/>
              <a:gd name="connsiteX211" fmla="*/ 3413760 w 8009775"/>
              <a:gd name="connsiteY211" fmla="*/ 1535430 h 6858000"/>
              <a:gd name="connsiteX212" fmla="*/ 3411100 w 8009775"/>
              <a:gd name="connsiteY212" fmla="*/ 1530034 h 6858000"/>
              <a:gd name="connsiteX213" fmla="*/ 3408736 w 8009775"/>
              <a:gd name="connsiteY213" fmla="*/ 1524635 h 6858000"/>
              <a:gd name="connsiteX214" fmla="*/ 3406371 w 8009775"/>
              <a:gd name="connsiteY214" fmla="*/ 1518920 h 6858000"/>
              <a:gd name="connsiteX215" fmla="*/ 3404598 w 8009775"/>
              <a:gd name="connsiteY215" fmla="*/ 1513205 h 6858000"/>
              <a:gd name="connsiteX216" fmla="*/ 3403120 w 8009775"/>
              <a:gd name="connsiteY216" fmla="*/ 1507174 h 6858000"/>
              <a:gd name="connsiteX217" fmla="*/ 3401938 w 8009775"/>
              <a:gd name="connsiteY217" fmla="*/ 1501459 h 6858000"/>
              <a:gd name="connsiteX218" fmla="*/ 3401051 w 8009775"/>
              <a:gd name="connsiteY218" fmla="*/ 1495744 h 6858000"/>
              <a:gd name="connsiteX219" fmla="*/ 3400460 w 8009775"/>
              <a:gd name="connsiteY219" fmla="*/ 1489710 h 6858000"/>
              <a:gd name="connsiteX220" fmla="*/ 3399869 w 8009775"/>
              <a:gd name="connsiteY220" fmla="*/ 1483995 h 6858000"/>
              <a:gd name="connsiteX221" fmla="*/ 3399573 w 8009775"/>
              <a:gd name="connsiteY221" fmla="*/ 1478281 h 6858000"/>
              <a:gd name="connsiteX222" fmla="*/ 3399869 w 8009775"/>
              <a:gd name="connsiteY222" fmla="*/ 1472249 h 6858000"/>
              <a:gd name="connsiteX223" fmla="*/ 3400460 w 8009775"/>
              <a:gd name="connsiteY223" fmla="*/ 1466215 h 6858000"/>
              <a:gd name="connsiteX224" fmla="*/ 3401051 w 8009775"/>
              <a:gd name="connsiteY224" fmla="*/ 1460183 h 6858000"/>
              <a:gd name="connsiteX225" fmla="*/ 3401938 w 8009775"/>
              <a:gd name="connsiteY225" fmla="*/ 1454468 h 6858000"/>
              <a:gd name="connsiteX226" fmla="*/ 3403120 w 8009775"/>
              <a:gd name="connsiteY226" fmla="*/ 1448754 h 6858000"/>
              <a:gd name="connsiteX227" fmla="*/ 3404598 w 8009775"/>
              <a:gd name="connsiteY227" fmla="*/ 1443039 h 6858000"/>
              <a:gd name="connsiteX228" fmla="*/ 3406371 w 8009775"/>
              <a:gd name="connsiteY228" fmla="*/ 1437324 h 6858000"/>
              <a:gd name="connsiteX229" fmla="*/ 3408736 w 8009775"/>
              <a:gd name="connsiteY229" fmla="*/ 1431609 h 6858000"/>
              <a:gd name="connsiteX230" fmla="*/ 3411100 w 8009775"/>
              <a:gd name="connsiteY230" fmla="*/ 1426211 h 6858000"/>
              <a:gd name="connsiteX231" fmla="*/ 3413760 w 8009775"/>
              <a:gd name="connsiteY231" fmla="*/ 1420814 h 6858000"/>
              <a:gd name="connsiteX232" fmla="*/ 3417012 w 8009775"/>
              <a:gd name="connsiteY232" fmla="*/ 1415416 h 6858000"/>
              <a:gd name="connsiteX233" fmla="*/ 3420262 w 8009775"/>
              <a:gd name="connsiteY233" fmla="*/ 1410336 h 6858000"/>
              <a:gd name="connsiteX234" fmla="*/ 3423218 w 8009775"/>
              <a:gd name="connsiteY234" fmla="*/ 1405256 h 6858000"/>
              <a:gd name="connsiteX235" fmla="*/ 3427356 w 8009775"/>
              <a:gd name="connsiteY235" fmla="*/ 1400175 h 6858000"/>
              <a:gd name="connsiteX236" fmla="*/ 3431198 w 8009775"/>
              <a:gd name="connsiteY236" fmla="*/ 1395731 h 6858000"/>
              <a:gd name="connsiteX237" fmla="*/ 3435928 w 8009775"/>
              <a:gd name="connsiteY237" fmla="*/ 1390969 h 6858000"/>
              <a:gd name="connsiteX238" fmla="*/ 3440361 w 8009775"/>
              <a:gd name="connsiteY238" fmla="*/ 1386524 h 6858000"/>
              <a:gd name="connsiteX239" fmla="*/ 3445386 w 8009775"/>
              <a:gd name="connsiteY239" fmla="*/ 1382396 h 6858000"/>
              <a:gd name="connsiteX240" fmla="*/ 3449819 w 8009775"/>
              <a:gd name="connsiteY240" fmla="*/ 1378585 h 6858000"/>
              <a:gd name="connsiteX241" fmla="*/ 3454844 w 8009775"/>
              <a:gd name="connsiteY241" fmla="*/ 1375094 h 6858000"/>
              <a:gd name="connsiteX242" fmla="*/ 3460459 w 8009775"/>
              <a:gd name="connsiteY242" fmla="*/ 1371919 h 6858000"/>
              <a:gd name="connsiteX243" fmla="*/ 3465780 w 8009775"/>
              <a:gd name="connsiteY243" fmla="*/ 1369061 h 6858000"/>
              <a:gd name="connsiteX244" fmla="*/ 3471100 w 8009775"/>
              <a:gd name="connsiteY244" fmla="*/ 1366204 h 6858000"/>
              <a:gd name="connsiteX245" fmla="*/ 3476420 w 8009775"/>
              <a:gd name="connsiteY245" fmla="*/ 1363980 h 6858000"/>
              <a:gd name="connsiteX246" fmla="*/ 3482331 w 8009775"/>
              <a:gd name="connsiteY246" fmla="*/ 1361759 h 6858000"/>
              <a:gd name="connsiteX247" fmla="*/ 3487947 w 8009775"/>
              <a:gd name="connsiteY247" fmla="*/ 1360170 h 6858000"/>
              <a:gd name="connsiteX248" fmla="*/ 3493858 w 8009775"/>
              <a:gd name="connsiteY248" fmla="*/ 1358265 h 6858000"/>
              <a:gd name="connsiteX249" fmla="*/ 3499474 w 8009775"/>
              <a:gd name="connsiteY249" fmla="*/ 1357314 h 6858000"/>
              <a:gd name="connsiteX250" fmla="*/ 3505385 w 8009775"/>
              <a:gd name="connsiteY250" fmla="*/ 1356043 h 6858000"/>
              <a:gd name="connsiteX251" fmla="*/ 3511001 w 8009775"/>
              <a:gd name="connsiteY251" fmla="*/ 1355409 h 6858000"/>
              <a:gd name="connsiteX252" fmla="*/ 3517208 w 8009775"/>
              <a:gd name="connsiteY252" fmla="*/ 1355090 h 6858000"/>
              <a:gd name="connsiteX253" fmla="*/ 3522823 w 8009775"/>
              <a:gd name="connsiteY253" fmla="*/ 1354773 h 6858000"/>
              <a:gd name="connsiteX254" fmla="*/ 3529030 w 8009775"/>
              <a:gd name="connsiteY254" fmla="*/ 1355090 h 6858000"/>
              <a:gd name="connsiteX255" fmla="*/ 3534646 w 8009775"/>
              <a:gd name="connsiteY255" fmla="*/ 1355409 h 6858000"/>
              <a:gd name="connsiteX256" fmla="*/ 3540557 w 8009775"/>
              <a:gd name="connsiteY256" fmla="*/ 1356043 h 6858000"/>
              <a:gd name="connsiteX257" fmla="*/ 3546468 w 8009775"/>
              <a:gd name="connsiteY257" fmla="*/ 1357314 h 6858000"/>
              <a:gd name="connsiteX258" fmla="*/ 3552380 w 8009775"/>
              <a:gd name="connsiteY258" fmla="*/ 1358265 h 6858000"/>
              <a:gd name="connsiteX259" fmla="*/ 3557995 w 8009775"/>
              <a:gd name="connsiteY259" fmla="*/ 1360170 h 6858000"/>
              <a:gd name="connsiteX260" fmla="*/ 3563906 w 8009775"/>
              <a:gd name="connsiteY260" fmla="*/ 1361759 h 6858000"/>
              <a:gd name="connsiteX261" fmla="*/ 3569227 w 8009775"/>
              <a:gd name="connsiteY261" fmla="*/ 1363980 h 6858000"/>
              <a:gd name="connsiteX262" fmla="*/ 3574842 w 8009775"/>
              <a:gd name="connsiteY262" fmla="*/ 1366204 h 6858000"/>
              <a:gd name="connsiteX263" fmla="*/ 3580458 w 8009775"/>
              <a:gd name="connsiteY263" fmla="*/ 1369061 h 6858000"/>
              <a:gd name="connsiteX264" fmla="*/ 3585778 w 8009775"/>
              <a:gd name="connsiteY264" fmla="*/ 1371919 h 6858000"/>
              <a:gd name="connsiteX265" fmla="*/ 3590803 w 8009775"/>
              <a:gd name="connsiteY265" fmla="*/ 1375094 h 6858000"/>
              <a:gd name="connsiteX266" fmla="*/ 3595828 w 8009775"/>
              <a:gd name="connsiteY266" fmla="*/ 1378585 h 6858000"/>
              <a:gd name="connsiteX267" fmla="*/ 3600852 w 8009775"/>
              <a:gd name="connsiteY267" fmla="*/ 1382396 h 6858000"/>
              <a:gd name="connsiteX268" fmla="*/ 3605581 w 8009775"/>
              <a:gd name="connsiteY268" fmla="*/ 1386524 h 6858000"/>
              <a:gd name="connsiteX269" fmla="*/ 3610014 w 8009775"/>
              <a:gd name="connsiteY269" fmla="*/ 1390969 h 6858000"/>
              <a:gd name="connsiteX270" fmla="*/ 3817500 w 8009775"/>
              <a:gd name="connsiteY270" fmla="*/ 1598296 h 6858000"/>
              <a:gd name="connsiteX271" fmla="*/ 3821934 w 8009775"/>
              <a:gd name="connsiteY271" fmla="*/ 1602423 h 6858000"/>
              <a:gd name="connsiteX272" fmla="*/ 3826663 w 8009775"/>
              <a:gd name="connsiteY272" fmla="*/ 1606869 h 6858000"/>
              <a:gd name="connsiteX273" fmla="*/ 3831687 w 8009775"/>
              <a:gd name="connsiteY273" fmla="*/ 1610361 h 6858000"/>
              <a:gd name="connsiteX274" fmla="*/ 3836712 w 8009775"/>
              <a:gd name="connsiteY274" fmla="*/ 1613854 h 6858000"/>
              <a:gd name="connsiteX275" fmla="*/ 3841736 w 8009775"/>
              <a:gd name="connsiteY275" fmla="*/ 1617345 h 6858000"/>
              <a:gd name="connsiteX276" fmla="*/ 3847352 w 8009775"/>
              <a:gd name="connsiteY276" fmla="*/ 1620204 h 6858000"/>
              <a:gd name="connsiteX277" fmla="*/ 3852672 w 8009775"/>
              <a:gd name="connsiteY277" fmla="*/ 1623061 h 6858000"/>
              <a:gd name="connsiteX278" fmla="*/ 3857992 w 8009775"/>
              <a:gd name="connsiteY278" fmla="*/ 1625283 h 6858000"/>
              <a:gd name="connsiteX279" fmla="*/ 3863608 w 8009775"/>
              <a:gd name="connsiteY279" fmla="*/ 1627189 h 6858000"/>
              <a:gd name="connsiteX280" fmla="*/ 3869519 w 8009775"/>
              <a:gd name="connsiteY280" fmla="*/ 1629094 h 6858000"/>
              <a:gd name="connsiteX281" fmla="*/ 3875135 w 8009775"/>
              <a:gd name="connsiteY281" fmla="*/ 1630998 h 6858000"/>
              <a:gd name="connsiteX282" fmla="*/ 3881046 w 8009775"/>
              <a:gd name="connsiteY282" fmla="*/ 1631950 h 6858000"/>
              <a:gd name="connsiteX283" fmla="*/ 3886662 w 8009775"/>
              <a:gd name="connsiteY283" fmla="*/ 1632904 h 6858000"/>
              <a:gd name="connsiteX284" fmla="*/ 3892869 w 8009775"/>
              <a:gd name="connsiteY284" fmla="*/ 1633856 h 6858000"/>
              <a:gd name="connsiteX285" fmla="*/ 3898485 w 8009775"/>
              <a:gd name="connsiteY285" fmla="*/ 1634174 h 6858000"/>
              <a:gd name="connsiteX286" fmla="*/ 3904396 w 8009775"/>
              <a:gd name="connsiteY286" fmla="*/ 1634174 h 6858000"/>
              <a:gd name="connsiteX287" fmla="*/ 3910307 w 8009775"/>
              <a:gd name="connsiteY287" fmla="*/ 1634174 h 6858000"/>
              <a:gd name="connsiteX288" fmla="*/ 3916219 w 8009775"/>
              <a:gd name="connsiteY288" fmla="*/ 1633856 h 6858000"/>
              <a:gd name="connsiteX289" fmla="*/ 3922425 w 8009775"/>
              <a:gd name="connsiteY289" fmla="*/ 1632904 h 6858000"/>
              <a:gd name="connsiteX290" fmla="*/ 3928041 w 8009775"/>
              <a:gd name="connsiteY290" fmla="*/ 1631950 h 6858000"/>
              <a:gd name="connsiteX291" fmla="*/ 3933657 w 8009775"/>
              <a:gd name="connsiteY291" fmla="*/ 1630998 h 6858000"/>
              <a:gd name="connsiteX292" fmla="*/ 3939568 w 8009775"/>
              <a:gd name="connsiteY292" fmla="*/ 1629094 h 6858000"/>
              <a:gd name="connsiteX293" fmla="*/ 3945184 w 8009775"/>
              <a:gd name="connsiteY293" fmla="*/ 1627189 h 6858000"/>
              <a:gd name="connsiteX294" fmla="*/ 3950799 w 8009775"/>
              <a:gd name="connsiteY294" fmla="*/ 1625283 h 6858000"/>
              <a:gd name="connsiteX295" fmla="*/ 3956415 w 8009775"/>
              <a:gd name="connsiteY295" fmla="*/ 1623061 h 6858000"/>
              <a:gd name="connsiteX296" fmla="*/ 3961735 w 8009775"/>
              <a:gd name="connsiteY296" fmla="*/ 1620204 h 6858000"/>
              <a:gd name="connsiteX297" fmla="*/ 3967055 w 8009775"/>
              <a:gd name="connsiteY297" fmla="*/ 1617345 h 6858000"/>
              <a:gd name="connsiteX298" fmla="*/ 3972376 w 8009775"/>
              <a:gd name="connsiteY298" fmla="*/ 1613854 h 6858000"/>
              <a:gd name="connsiteX299" fmla="*/ 3977400 w 8009775"/>
              <a:gd name="connsiteY299" fmla="*/ 1610361 h 6858000"/>
              <a:gd name="connsiteX300" fmla="*/ 3982425 w 8009775"/>
              <a:gd name="connsiteY300" fmla="*/ 1606869 h 6858000"/>
              <a:gd name="connsiteX301" fmla="*/ 3986858 w 8009775"/>
              <a:gd name="connsiteY301" fmla="*/ 1602423 h 6858000"/>
              <a:gd name="connsiteX302" fmla="*/ 3991587 w 8009775"/>
              <a:gd name="connsiteY302" fmla="*/ 1598296 h 6858000"/>
              <a:gd name="connsiteX303" fmla="*/ 3996021 w 8009775"/>
              <a:gd name="connsiteY303" fmla="*/ 1593533 h 6858000"/>
              <a:gd name="connsiteX304" fmla="*/ 4000159 w 8009775"/>
              <a:gd name="connsiteY304" fmla="*/ 1588771 h 6858000"/>
              <a:gd name="connsiteX305" fmla="*/ 4003705 w 8009775"/>
              <a:gd name="connsiteY305" fmla="*/ 1583691 h 6858000"/>
              <a:gd name="connsiteX306" fmla="*/ 4007548 w 8009775"/>
              <a:gd name="connsiteY306" fmla="*/ 1578928 h 6858000"/>
              <a:gd name="connsiteX307" fmla="*/ 4010799 w 8009775"/>
              <a:gd name="connsiteY307" fmla="*/ 1573849 h 6858000"/>
              <a:gd name="connsiteX308" fmla="*/ 4013459 w 8009775"/>
              <a:gd name="connsiteY308" fmla="*/ 1568451 h 6858000"/>
              <a:gd name="connsiteX309" fmla="*/ 4016415 w 8009775"/>
              <a:gd name="connsiteY309" fmla="*/ 1563054 h 6858000"/>
              <a:gd name="connsiteX310" fmla="*/ 4018484 w 8009775"/>
              <a:gd name="connsiteY310" fmla="*/ 1557339 h 6858000"/>
              <a:gd name="connsiteX311" fmla="*/ 4020848 w 8009775"/>
              <a:gd name="connsiteY311" fmla="*/ 1551941 h 6858000"/>
              <a:gd name="connsiteX312" fmla="*/ 4022621 w 8009775"/>
              <a:gd name="connsiteY312" fmla="*/ 1546226 h 6858000"/>
              <a:gd name="connsiteX313" fmla="*/ 4024395 w 8009775"/>
              <a:gd name="connsiteY313" fmla="*/ 1540511 h 6858000"/>
              <a:gd name="connsiteX314" fmla="*/ 4025282 w 8009775"/>
              <a:gd name="connsiteY314" fmla="*/ 1534478 h 6858000"/>
              <a:gd name="connsiteX315" fmla="*/ 4026464 w 8009775"/>
              <a:gd name="connsiteY315" fmla="*/ 1528763 h 6858000"/>
              <a:gd name="connsiteX316" fmla="*/ 4027055 w 8009775"/>
              <a:gd name="connsiteY316" fmla="*/ 1522731 h 6858000"/>
              <a:gd name="connsiteX317" fmla="*/ 4027646 w 8009775"/>
              <a:gd name="connsiteY317" fmla="*/ 1517016 h 6858000"/>
              <a:gd name="connsiteX318" fmla="*/ 4027646 w 8009775"/>
              <a:gd name="connsiteY318" fmla="*/ 1510984 h 6858000"/>
              <a:gd name="connsiteX319" fmla="*/ 4027646 w 8009775"/>
              <a:gd name="connsiteY319" fmla="*/ 1505268 h 6858000"/>
              <a:gd name="connsiteX320" fmla="*/ 4027055 w 8009775"/>
              <a:gd name="connsiteY320" fmla="*/ 1499553 h 6858000"/>
              <a:gd name="connsiteX321" fmla="*/ 4026464 w 8009775"/>
              <a:gd name="connsiteY321" fmla="*/ 1493204 h 6858000"/>
              <a:gd name="connsiteX322" fmla="*/ 4025282 w 8009775"/>
              <a:gd name="connsiteY322" fmla="*/ 1487489 h 6858000"/>
              <a:gd name="connsiteX323" fmla="*/ 4024395 w 8009775"/>
              <a:gd name="connsiteY323" fmla="*/ 1481773 h 6858000"/>
              <a:gd name="connsiteX324" fmla="*/ 4022621 w 8009775"/>
              <a:gd name="connsiteY324" fmla="*/ 1476058 h 6858000"/>
              <a:gd name="connsiteX325" fmla="*/ 4020848 w 8009775"/>
              <a:gd name="connsiteY325" fmla="*/ 1470343 h 6858000"/>
              <a:gd name="connsiteX326" fmla="*/ 4018484 w 8009775"/>
              <a:gd name="connsiteY326" fmla="*/ 1464629 h 6858000"/>
              <a:gd name="connsiteX327" fmla="*/ 4016415 w 8009775"/>
              <a:gd name="connsiteY327" fmla="*/ 1459231 h 6858000"/>
              <a:gd name="connsiteX328" fmla="*/ 4013459 w 8009775"/>
              <a:gd name="connsiteY328" fmla="*/ 1453834 h 6858000"/>
              <a:gd name="connsiteX329" fmla="*/ 4010799 w 8009775"/>
              <a:gd name="connsiteY329" fmla="*/ 1448436 h 6858000"/>
              <a:gd name="connsiteX330" fmla="*/ 4007548 w 8009775"/>
              <a:gd name="connsiteY330" fmla="*/ 1443356 h 6858000"/>
              <a:gd name="connsiteX331" fmla="*/ 4003705 w 8009775"/>
              <a:gd name="connsiteY331" fmla="*/ 1438275 h 6858000"/>
              <a:gd name="connsiteX332" fmla="*/ 4000159 w 8009775"/>
              <a:gd name="connsiteY332" fmla="*/ 1433195 h 6858000"/>
              <a:gd name="connsiteX333" fmla="*/ 3996021 w 8009775"/>
              <a:gd name="connsiteY333" fmla="*/ 1428751 h 6858000"/>
              <a:gd name="connsiteX334" fmla="*/ 3991587 w 8009775"/>
              <a:gd name="connsiteY334" fmla="*/ 1423988 h 6858000"/>
              <a:gd name="connsiteX335" fmla="*/ 3323022 w 8009775"/>
              <a:gd name="connsiteY335" fmla="*/ 755333 h 6858000"/>
              <a:gd name="connsiteX336" fmla="*/ 3316815 w 8009775"/>
              <a:gd name="connsiteY336" fmla="*/ 748348 h 6858000"/>
              <a:gd name="connsiteX337" fmla="*/ 3310904 w 8009775"/>
              <a:gd name="connsiteY337" fmla="*/ 741045 h 6858000"/>
              <a:gd name="connsiteX338" fmla="*/ 3305584 w 8009775"/>
              <a:gd name="connsiteY338" fmla="*/ 733108 h 6858000"/>
              <a:gd name="connsiteX339" fmla="*/ 3300855 w 8009775"/>
              <a:gd name="connsiteY339" fmla="*/ 725170 h 6858000"/>
              <a:gd name="connsiteX340" fmla="*/ 3297308 w 8009775"/>
              <a:gd name="connsiteY340" fmla="*/ 716915 h 6858000"/>
              <a:gd name="connsiteX341" fmla="*/ 3293761 w 8009775"/>
              <a:gd name="connsiteY341" fmla="*/ 708660 h 6858000"/>
              <a:gd name="connsiteX342" fmla="*/ 3291101 w 8009775"/>
              <a:gd name="connsiteY342" fmla="*/ 699770 h 6858000"/>
              <a:gd name="connsiteX343" fmla="*/ 3289328 w 8009775"/>
              <a:gd name="connsiteY343" fmla="*/ 691198 h 6858000"/>
              <a:gd name="connsiteX344" fmla="*/ 2596527 w 8009775"/>
              <a:gd name="connsiteY344" fmla="*/ 0 h 6858000"/>
              <a:gd name="connsiteX0" fmla="*/ 2596527 w 8009775"/>
              <a:gd name="connsiteY0" fmla="*/ 0 h 6858000"/>
              <a:gd name="connsiteX1" fmla="*/ 2165004 w 8009775"/>
              <a:gd name="connsiteY1" fmla="*/ 0 h 6858000"/>
              <a:gd name="connsiteX2" fmla="*/ 3265978 w 8009775"/>
              <a:gd name="connsiteY2" fmla="*/ 1101091 h 6858000"/>
              <a:gd name="connsiteX3" fmla="*/ 3270708 w 8009775"/>
              <a:gd name="connsiteY3" fmla="*/ 1105854 h 6858000"/>
              <a:gd name="connsiteX4" fmla="*/ 3274550 w 8009775"/>
              <a:gd name="connsiteY4" fmla="*/ 1110615 h 6858000"/>
              <a:gd name="connsiteX5" fmla="*/ 3278688 w 8009775"/>
              <a:gd name="connsiteY5" fmla="*/ 1115696 h 6858000"/>
              <a:gd name="connsiteX6" fmla="*/ 3282234 w 8009775"/>
              <a:gd name="connsiteY6" fmla="*/ 1120776 h 6858000"/>
              <a:gd name="connsiteX7" fmla="*/ 3285486 w 8009775"/>
              <a:gd name="connsiteY7" fmla="*/ 1126174 h 6858000"/>
              <a:gd name="connsiteX8" fmla="*/ 3288146 w 8009775"/>
              <a:gd name="connsiteY8" fmla="*/ 1131570 h 6858000"/>
              <a:gd name="connsiteX9" fmla="*/ 3291101 w 8009775"/>
              <a:gd name="connsiteY9" fmla="*/ 1136968 h 6858000"/>
              <a:gd name="connsiteX10" fmla="*/ 3293761 w 8009775"/>
              <a:gd name="connsiteY10" fmla="*/ 1142366 h 6858000"/>
              <a:gd name="connsiteX11" fmla="*/ 3295830 w 8009775"/>
              <a:gd name="connsiteY11" fmla="*/ 1148081 h 6858000"/>
              <a:gd name="connsiteX12" fmla="*/ 3297604 w 8009775"/>
              <a:gd name="connsiteY12" fmla="*/ 1153796 h 6858000"/>
              <a:gd name="connsiteX13" fmla="*/ 3299082 w 8009775"/>
              <a:gd name="connsiteY13" fmla="*/ 1159829 h 6858000"/>
              <a:gd name="connsiteX14" fmla="*/ 3300559 w 8009775"/>
              <a:gd name="connsiteY14" fmla="*/ 1165544 h 6858000"/>
              <a:gd name="connsiteX15" fmla="*/ 3301446 w 8009775"/>
              <a:gd name="connsiteY15" fmla="*/ 1171893 h 6858000"/>
              <a:gd name="connsiteX16" fmla="*/ 3302333 w 8009775"/>
              <a:gd name="connsiteY16" fmla="*/ 1177608 h 6858000"/>
              <a:gd name="connsiteX17" fmla="*/ 3302628 w 8009775"/>
              <a:gd name="connsiteY17" fmla="*/ 1183641 h 6858000"/>
              <a:gd name="connsiteX18" fmla="*/ 3302628 w 8009775"/>
              <a:gd name="connsiteY18" fmla="*/ 1189356 h 6858000"/>
              <a:gd name="connsiteX19" fmla="*/ 3302628 w 8009775"/>
              <a:gd name="connsiteY19" fmla="*/ 1195388 h 6858000"/>
              <a:gd name="connsiteX20" fmla="*/ 3302333 w 8009775"/>
              <a:gd name="connsiteY20" fmla="*/ 1201739 h 6858000"/>
              <a:gd name="connsiteX21" fmla="*/ 3301446 w 8009775"/>
              <a:gd name="connsiteY21" fmla="*/ 1207454 h 6858000"/>
              <a:gd name="connsiteX22" fmla="*/ 3300559 w 8009775"/>
              <a:gd name="connsiteY22" fmla="*/ 1213486 h 6858000"/>
              <a:gd name="connsiteX23" fmla="*/ 3299082 w 8009775"/>
              <a:gd name="connsiteY23" fmla="*/ 1219200 h 6858000"/>
              <a:gd name="connsiteX24" fmla="*/ 3297604 w 8009775"/>
              <a:gd name="connsiteY24" fmla="*/ 1225233 h 6858000"/>
              <a:gd name="connsiteX25" fmla="*/ 3295830 w 8009775"/>
              <a:gd name="connsiteY25" fmla="*/ 1230949 h 6858000"/>
              <a:gd name="connsiteX26" fmla="*/ 3293761 w 8009775"/>
              <a:gd name="connsiteY26" fmla="*/ 1236346 h 6858000"/>
              <a:gd name="connsiteX27" fmla="*/ 3291101 w 8009775"/>
              <a:gd name="connsiteY27" fmla="*/ 1242061 h 6858000"/>
              <a:gd name="connsiteX28" fmla="*/ 3288146 w 8009775"/>
              <a:gd name="connsiteY28" fmla="*/ 1247459 h 6858000"/>
              <a:gd name="connsiteX29" fmla="*/ 3285486 w 8009775"/>
              <a:gd name="connsiteY29" fmla="*/ 1252855 h 6858000"/>
              <a:gd name="connsiteX30" fmla="*/ 3282234 w 8009775"/>
              <a:gd name="connsiteY30" fmla="*/ 1258254 h 6858000"/>
              <a:gd name="connsiteX31" fmla="*/ 3278688 w 8009775"/>
              <a:gd name="connsiteY31" fmla="*/ 1263333 h 6858000"/>
              <a:gd name="connsiteX32" fmla="*/ 3274550 w 8009775"/>
              <a:gd name="connsiteY32" fmla="*/ 1268413 h 6858000"/>
              <a:gd name="connsiteX33" fmla="*/ 3270708 w 8009775"/>
              <a:gd name="connsiteY33" fmla="*/ 1273494 h 6858000"/>
              <a:gd name="connsiteX34" fmla="*/ 3265978 w 8009775"/>
              <a:gd name="connsiteY34" fmla="*/ 1278255 h 6858000"/>
              <a:gd name="connsiteX35" fmla="*/ 3261249 w 8009775"/>
              <a:gd name="connsiteY35" fmla="*/ 1282384 h 6858000"/>
              <a:gd name="connsiteX36" fmla="*/ 3256816 w 8009775"/>
              <a:gd name="connsiteY36" fmla="*/ 1286510 h 6858000"/>
              <a:gd name="connsiteX37" fmla="*/ 3251791 w 8009775"/>
              <a:gd name="connsiteY37" fmla="*/ 1290321 h 6858000"/>
              <a:gd name="connsiteX38" fmla="*/ 3246767 w 8009775"/>
              <a:gd name="connsiteY38" fmla="*/ 1293814 h 6858000"/>
              <a:gd name="connsiteX39" fmla="*/ 3241151 w 8009775"/>
              <a:gd name="connsiteY39" fmla="*/ 1297306 h 6858000"/>
              <a:gd name="connsiteX40" fmla="*/ 3235831 w 8009775"/>
              <a:gd name="connsiteY40" fmla="*/ 1300481 h 6858000"/>
              <a:gd name="connsiteX41" fmla="*/ 3230511 w 8009775"/>
              <a:gd name="connsiteY41" fmla="*/ 1303021 h 6858000"/>
              <a:gd name="connsiteX42" fmla="*/ 3224600 w 8009775"/>
              <a:gd name="connsiteY42" fmla="*/ 1305560 h 6858000"/>
              <a:gd name="connsiteX43" fmla="*/ 3218984 w 8009775"/>
              <a:gd name="connsiteY43" fmla="*/ 1307465 h 6858000"/>
              <a:gd name="connsiteX44" fmla="*/ 3213072 w 8009775"/>
              <a:gd name="connsiteY44" fmla="*/ 1309371 h 6858000"/>
              <a:gd name="connsiteX45" fmla="*/ 3207457 w 8009775"/>
              <a:gd name="connsiteY45" fmla="*/ 1311275 h 6858000"/>
              <a:gd name="connsiteX46" fmla="*/ 3201841 w 8009775"/>
              <a:gd name="connsiteY46" fmla="*/ 1312228 h 6858000"/>
              <a:gd name="connsiteX47" fmla="*/ 3195634 w 8009775"/>
              <a:gd name="connsiteY47" fmla="*/ 1313180 h 6858000"/>
              <a:gd name="connsiteX48" fmla="*/ 3189428 w 8009775"/>
              <a:gd name="connsiteY48" fmla="*/ 1314133 h 6858000"/>
              <a:gd name="connsiteX49" fmla="*/ 3183812 w 8009775"/>
              <a:gd name="connsiteY49" fmla="*/ 1314450 h 6858000"/>
              <a:gd name="connsiteX50" fmla="*/ 3177605 w 8009775"/>
              <a:gd name="connsiteY50" fmla="*/ 1314769 h 6858000"/>
              <a:gd name="connsiteX51" fmla="*/ 3171694 w 8009775"/>
              <a:gd name="connsiteY51" fmla="*/ 1314450 h 6858000"/>
              <a:gd name="connsiteX52" fmla="*/ 3165782 w 8009775"/>
              <a:gd name="connsiteY52" fmla="*/ 1314133 h 6858000"/>
              <a:gd name="connsiteX53" fmla="*/ 3159576 w 8009775"/>
              <a:gd name="connsiteY53" fmla="*/ 1313180 h 6858000"/>
              <a:gd name="connsiteX54" fmla="*/ 3153960 w 8009775"/>
              <a:gd name="connsiteY54" fmla="*/ 1312228 h 6858000"/>
              <a:gd name="connsiteX55" fmla="*/ 3147753 w 8009775"/>
              <a:gd name="connsiteY55" fmla="*/ 1311275 h 6858000"/>
              <a:gd name="connsiteX56" fmla="*/ 3142137 w 8009775"/>
              <a:gd name="connsiteY56" fmla="*/ 1309371 h 6858000"/>
              <a:gd name="connsiteX57" fmla="*/ 3136226 w 8009775"/>
              <a:gd name="connsiteY57" fmla="*/ 1307465 h 6858000"/>
              <a:gd name="connsiteX58" fmla="*/ 3130610 w 8009775"/>
              <a:gd name="connsiteY58" fmla="*/ 1305560 h 6858000"/>
              <a:gd name="connsiteX59" fmla="*/ 3124994 w 8009775"/>
              <a:gd name="connsiteY59" fmla="*/ 1303021 h 6858000"/>
              <a:gd name="connsiteX60" fmla="*/ 3119379 w 8009775"/>
              <a:gd name="connsiteY60" fmla="*/ 1300481 h 6858000"/>
              <a:gd name="connsiteX61" fmla="*/ 3114059 w 8009775"/>
              <a:gd name="connsiteY61" fmla="*/ 1297306 h 6858000"/>
              <a:gd name="connsiteX62" fmla="*/ 3109034 w 8009775"/>
              <a:gd name="connsiteY62" fmla="*/ 1293814 h 6858000"/>
              <a:gd name="connsiteX63" fmla="*/ 3103714 w 8009775"/>
              <a:gd name="connsiteY63" fmla="*/ 1290321 h 6858000"/>
              <a:gd name="connsiteX64" fmla="*/ 3098689 w 8009775"/>
              <a:gd name="connsiteY64" fmla="*/ 1286510 h 6858000"/>
              <a:gd name="connsiteX65" fmla="*/ 3093960 w 8009775"/>
              <a:gd name="connsiteY65" fmla="*/ 1282384 h 6858000"/>
              <a:gd name="connsiteX66" fmla="*/ 3089231 w 8009775"/>
              <a:gd name="connsiteY66" fmla="*/ 1278255 h 6858000"/>
              <a:gd name="connsiteX67" fmla="*/ 1811214 w 8009775"/>
              <a:gd name="connsiteY67" fmla="*/ 0 h 6858000"/>
              <a:gd name="connsiteX68" fmla="*/ 0 w 8009775"/>
              <a:gd name="connsiteY68" fmla="*/ 0 h 6858000"/>
              <a:gd name="connsiteX69" fmla="*/ 0 w 8009775"/>
              <a:gd name="connsiteY69" fmla="*/ 6858000 h 6858000"/>
              <a:gd name="connsiteX70" fmla="*/ 8009775 w 8009775"/>
              <a:gd name="connsiteY70" fmla="*/ 6858000 h 6858000"/>
              <a:gd name="connsiteX71" fmla="*/ 3996316 w 8009775"/>
              <a:gd name="connsiteY71" fmla="*/ 2818448 h 6858000"/>
              <a:gd name="connsiteX72" fmla="*/ 3980947 w 8009775"/>
              <a:gd name="connsiteY72" fmla="*/ 2804795 h 6858000"/>
              <a:gd name="connsiteX73" fmla="*/ 3001744 w 8009775"/>
              <a:gd name="connsiteY73" fmla="*/ 1828166 h 6858000"/>
              <a:gd name="connsiteX74" fmla="*/ 2997311 w 8009775"/>
              <a:gd name="connsiteY74" fmla="*/ 1823404 h 6858000"/>
              <a:gd name="connsiteX75" fmla="*/ 2992878 w 8009775"/>
              <a:gd name="connsiteY75" fmla="*/ 1818640 h 6858000"/>
              <a:gd name="connsiteX76" fmla="*/ 2989331 w 8009775"/>
              <a:gd name="connsiteY76" fmla="*/ 1814195 h 6858000"/>
              <a:gd name="connsiteX77" fmla="*/ 2985784 w 8009775"/>
              <a:gd name="connsiteY77" fmla="*/ 1808799 h 6858000"/>
              <a:gd name="connsiteX78" fmla="*/ 2982533 w 8009775"/>
              <a:gd name="connsiteY78" fmla="*/ 1803718 h 6858000"/>
              <a:gd name="connsiteX79" fmla="*/ 2979873 w 8009775"/>
              <a:gd name="connsiteY79" fmla="*/ 1798321 h 6858000"/>
              <a:gd name="connsiteX80" fmla="*/ 2976917 w 8009775"/>
              <a:gd name="connsiteY80" fmla="*/ 1792924 h 6858000"/>
              <a:gd name="connsiteX81" fmla="*/ 2974552 w 8009775"/>
              <a:gd name="connsiteY81" fmla="*/ 1787526 h 6858000"/>
              <a:gd name="connsiteX82" fmla="*/ 2972484 w 8009775"/>
              <a:gd name="connsiteY82" fmla="*/ 1781811 h 6858000"/>
              <a:gd name="connsiteX83" fmla="*/ 2970710 w 8009775"/>
              <a:gd name="connsiteY83" fmla="*/ 1776095 h 6858000"/>
              <a:gd name="connsiteX84" fmla="*/ 2968937 w 8009775"/>
              <a:gd name="connsiteY84" fmla="*/ 1770380 h 6858000"/>
              <a:gd name="connsiteX85" fmla="*/ 2967755 w 8009775"/>
              <a:gd name="connsiteY85" fmla="*/ 1764665 h 6858000"/>
              <a:gd name="connsiteX86" fmla="*/ 2966868 w 8009775"/>
              <a:gd name="connsiteY86" fmla="*/ 1758634 h 6858000"/>
              <a:gd name="connsiteX87" fmla="*/ 2965981 w 8009775"/>
              <a:gd name="connsiteY87" fmla="*/ 1752919 h 6858000"/>
              <a:gd name="connsiteX88" fmla="*/ 2965686 w 8009775"/>
              <a:gd name="connsiteY88" fmla="*/ 1746885 h 6858000"/>
              <a:gd name="connsiteX89" fmla="*/ 2965686 w 8009775"/>
              <a:gd name="connsiteY89" fmla="*/ 1741170 h 6858000"/>
              <a:gd name="connsiteX90" fmla="*/ 2965686 w 8009775"/>
              <a:gd name="connsiteY90" fmla="*/ 1735139 h 6858000"/>
              <a:gd name="connsiteX91" fmla="*/ 2965981 w 8009775"/>
              <a:gd name="connsiteY91" fmla="*/ 1729424 h 6858000"/>
              <a:gd name="connsiteX92" fmla="*/ 2966868 w 8009775"/>
              <a:gd name="connsiteY92" fmla="*/ 1723074 h 6858000"/>
              <a:gd name="connsiteX93" fmla="*/ 2967755 w 8009775"/>
              <a:gd name="connsiteY93" fmla="*/ 1717358 h 6858000"/>
              <a:gd name="connsiteX94" fmla="*/ 2968937 w 8009775"/>
              <a:gd name="connsiteY94" fmla="*/ 1711643 h 6858000"/>
              <a:gd name="connsiteX95" fmla="*/ 2970710 w 8009775"/>
              <a:gd name="connsiteY95" fmla="*/ 1705929 h 6858000"/>
              <a:gd name="connsiteX96" fmla="*/ 2972484 w 8009775"/>
              <a:gd name="connsiteY96" fmla="*/ 1700214 h 6858000"/>
              <a:gd name="connsiteX97" fmla="*/ 2974552 w 8009775"/>
              <a:gd name="connsiteY97" fmla="*/ 1694816 h 6858000"/>
              <a:gd name="connsiteX98" fmla="*/ 2976917 w 8009775"/>
              <a:gd name="connsiteY98" fmla="*/ 1689101 h 6858000"/>
              <a:gd name="connsiteX99" fmla="*/ 2979873 w 8009775"/>
              <a:gd name="connsiteY99" fmla="*/ 1683703 h 6858000"/>
              <a:gd name="connsiteX100" fmla="*/ 2982533 w 8009775"/>
              <a:gd name="connsiteY100" fmla="*/ 1678305 h 6858000"/>
              <a:gd name="connsiteX101" fmla="*/ 2985784 w 8009775"/>
              <a:gd name="connsiteY101" fmla="*/ 1673226 h 6858000"/>
              <a:gd name="connsiteX102" fmla="*/ 2989331 w 8009775"/>
              <a:gd name="connsiteY102" fmla="*/ 1668145 h 6858000"/>
              <a:gd name="connsiteX103" fmla="*/ 2992878 w 8009775"/>
              <a:gd name="connsiteY103" fmla="*/ 1663066 h 6858000"/>
              <a:gd name="connsiteX104" fmla="*/ 2997311 w 8009775"/>
              <a:gd name="connsiteY104" fmla="*/ 1658621 h 6858000"/>
              <a:gd name="connsiteX105" fmla="*/ 3001744 w 8009775"/>
              <a:gd name="connsiteY105" fmla="*/ 1653859 h 6858000"/>
              <a:gd name="connsiteX106" fmla="*/ 3006178 w 8009775"/>
              <a:gd name="connsiteY106" fmla="*/ 1649414 h 6858000"/>
              <a:gd name="connsiteX107" fmla="*/ 3010907 w 8009775"/>
              <a:gd name="connsiteY107" fmla="*/ 1645603 h 6858000"/>
              <a:gd name="connsiteX108" fmla="*/ 3015932 w 8009775"/>
              <a:gd name="connsiteY108" fmla="*/ 1641794 h 6858000"/>
              <a:gd name="connsiteX109" fmla="*/ 3020956 w 8009775"/>
              <a:gd name="connsiteY109" fmla="*/ 1637984 h 6858000"/>
              <a:gd name="connsiteX110" fmla="*/ 3025981 w 8009775"/>
              <a:gd name="connsiteY110" fmla="*/ 1634809 h 6858000"/>
              <a:gd name="connsiteX111" fmla="*/ 3031596 w 8009775"/>
              <a:gd name="connsiteY111" fmla="*/ 1631950 h 6858000"/>
              <a:gd name="connsiteX112" fmla="*/ 3036916 w 8009775"/>
              <a:gd name="connsiteY112" fmla="*/ 1629094 h 6858000"/>
              <a:gd name="connsiteX113" fmla="*/ 3042532 w 8009775"/>
              <a:gd name="connsiteY113" fmla="*/ 1626871 h 6858000"/>
              <a:gd name="connsiteX114" fmla="*/ 3047852 w 8009775"/>
              <a:gd name="connsiteY114" fmla="*/ 1624649 h 6858000"/>
              <a:gd name="connsiteX115" fmla="*/ 3053764 w 8009775"/>
              <a:gd name="connsiteY115" fmla="*/ 1623061 h 6858000"/>
              <a:gd name="connsiteX116" fmla="*/ 3059379 w 8009775"/>
              <a:gd name="connsiteY116" fmla="*/ 1621155 h 6858000"/>
              <a:gd name="connsiteX117" fmla="*/ 3065291 w 8009775"/>
              <a:gd name="connsiteY117" fmla="*/ 1620204 h 6858000"/>
              <a:gd name="connsiteX118" fmla="*/ 3070906 w 8009775"/>
              <a:gd name="connsiteY118" fmla="*/ 1618934 h 6858000"/>
              <a:gd name="connsiteX119" fmla="*/ 3077113 w 8009775"/>
              <a:gd name="connsiteY119" fmla="*/ 1618299 h 6858000"/>
              <a:gd name="connsiteX120" fmla="*/ 3082729 w 8009775"/>
              <a:gd name="connsiteY120" fmla="*/ 1617981 h 6858000"/>
              <a:gd name="connsiteX121" fmla="*/ 3088936 w 8009775"/>
              <a:gd name="connsiteY121" fmla="*/ 1617981 h 6858000"/>
              <a:gd name="connsiteX122" fmla="*/ 3094552 w 8009775"/>
              <a:gd name="connsiteY122" fmla="*/ 1617981 h 6858000"/>
              <a:gd name="connsiteX123" fmla="*/ 3100758 w 8009775"/>
              <a:gd name="connsiteY123" fmla="*/ 1618299 h 6858000"/>
              <a:gd name="connsiteX124" fmla="*/ 3106670 w 8009775"/>
              <a:gd name="connsiteY124" fmla="*/ 1618934 h 6858000"/>
              <a:gd name="connsiteX125" fmla="*/ 3112285 w 8009775"/>
              <a:gd name="connsiteY125" fmla="*/ 1620204 h 6858000"/>
              <a:gd name="connsiteX126" fmla="*/ 3117901 w 8009775"/>
              <a:gd name="connsiteY126" fmla="*/ 1621155 h 6858000"/>
              <a:gd name="connsiteX127" fmla="*/ 3123812 w 8009775"/>
              <a:gd name="connsiteY127" fmla="*/ 1623061 h 6858000"/>
              <a:gd name="connsiteX128" fmla="*/ 3129428 w 8009775"/>
              <a:gd name="connsiteY128" fmla="*/ 1624649 h 6858000"/>
              <a:gd name="connsiteX129" fmla="*/ 3135339 w 8009775"/>
              <a:gd name="connsiteY129" fmla="*/ 1626871 h 6858000"/>
              <a:gd name="connsiteX130" fmla="*/ 3140660 w 8009775"/>
              <a:gd name="connsiteY130" fmla="*/ 1629094 h 6858000"/>
              <a:gd name="connsiteX131" fmla="*/ 3145980 w 8009775"/>
              <a:gd name="connsiteY131" fmla="*/ 1631950 h 6858000"/>
              <a:gd name="connsiteX132" fmla="*/ 3151300 w 8009775"/>
              <a:gd name="connsiteY132" fmla="*/ 1634809 h 6858000"/>
              <a:gd name="connsiteX133" fmla="*/ 3156324 w 8009775"/>
              <a:gd name="connsiteY133" fmla="*/ 1637984 h 6858000"/>
              <a:gd name="connsiteX134" fmla="*/ 3161349 w 8009775"/>
              <a:gd name="connsiteY134" fmla="*/ 1641794 h 6858000"/>
              <a:gd name="connsiteX135" fmla="*/ 3166374 w 8009775"/>
              <a:gd name="connsiteY135" fmla="*/ 1645603 h 6858000"/>
              <a:gd name="connsiteX136" fmla="*/ 3171102 w 8009775"/>
              <a:gd name="connsiteY136" fmla="*/ 1649414 h 6858000"/>
              <a:gd name="connsiteX137" fmla="*/ 3175832 w 8009775"/>
              <a:gd name="connsiteY137" fmla="*/ 1653859 h 6858000"/>
              <a:gd name="connsiteX138" fmla="*/ 3844692 w 8009775"/>
              <a:gd name="connsiteY138" fmla="*/ 2322830 h 6858000"/>
              <a:gd name="connsiteX139" fmla="*/ 3849421 w 8009775"/>
              <a:gd name="connsiteY139" fmla="*/ 2326958 h 6858000"/>
              <a:gd name="connsiteX140" fmla="*/ 3854150 w 8009775"/>
              <a:gd name="connsiteY140" fmla="*/ 2331085 h 6858000"/>
              <a:gd name="connsiteX141" fmla="*/ 3859175 w 8009775"/>
              <a:gd name="connsiteY141" fmla="*/ 2334895 h 6858000"/>
              <a:gd name="connsiteX142" fmla="*/ 3864199 w 8009775"/>
              <a:gd name="connsiteY142" fmla="*/ 2338705 h 6858000"/>
              <a:gd name="connsiteX143" fmla="*/ 3869224 w 8009775"/>
              <a:gd name="connsiteY143" fmla="*/ 2341880 h 6858000"/>
              <a:gd name="connsiteX144" fmla="*/ 3874544 w 8009775"/>
              <a:gd name="connsiteY144" fmla="*/ 2344738 h 6858000"/>
              <a:gd name="connsiteX145" fmla="*/ 3879864 w 8009775"/>
              <a:gd name="connsiteY145" fmla="*/ 2347595 h 6858000"/>
              <a:gd name="connsiteX146" fmla="*/ 3885775 w 8009775"/>
              <a:gd name="connsiteY146" fmla="*/ 2349818 h 6858000"/>
              <a:gd name="connsiteX147" fmla="*/ 3891096 w 8009775"/>
              <a:gd name="connsiteY147" fmla="*/ 2351723 h 6858000"/>
              <a:gd name="connsiteX148" fmla="*/ 3896711 w 8009775"/>
              <a:gd name="connsiteY148" fmla="*/ 2353628 h 6858000"/>
              <a:gd name="connsiteX149" fmla="*/ 3902623 w 8009775"/>
              <a:gd name="connsiteY149" fmla="*/ 2355534 h 6858000"/>
              <a:gd name="connsiteX150" fmla="*/ 3908238 w 8009775"/>
              <a:gd name="connsiteY150" fmla="*/ 2356485 h 6858000"/>
              <a:gd name="connsiteX151" fmla="*/ 3914150 w 8009775"/>
              <a:gd name="connsiteY151" fmla="*/ 2357755 h 6858000"/>
              <a:gd name="connsiteX152" fmla="*/ 3920061 w 8009775"/>
              <a:gd name="connsiteY152" fmla="*/ 2358391 h 6858000"/>
              <a:gd name="connsiteX153" fmla="*/ 3925972 w 8009775"/>
              <a:gd name="connsiteY153" fmla="*/ 2358708 h 6858000"/>
              <a:gd name="connsiteX154" fmla="*/ 3931883 w 8009775"/>
              <a:gd name="connsiteY154" fmla="*/ 2358708 h 6858000"/>
              <a:gd name="connsiteX155" fmla="*/ 3937795 w 8009775"/>
              <a:gd name="connsiteY155" fmla="*/ 2358708 h 6858000"/>
              <a:gd name="connsiteX156" fmla="*/ 3943706 w 8009775"/>
              <a:gd name="connsiteY156" fmla="*/ 2358391 h 6858000"/>
              <a:gd name="connsiteX157" fmla="*/ 3949617 w 8009775"/>
              <a:gd name="connsiteY157" fmla="*/ 2357755 h 6858000"/>
              <a:gd name="connsiteX158" fmla="*/ 3955233 w 8009775"/>
              <a:gd name="connsiteY158" fmla="*/ 2356485 h 6858000"/>
              <a:gd name="connsiteX159" fmla="*/ 3961144 w 8009775"/>
              <a:gd name="connsiteY159" fmla="*/ 2355534 h 6858000"/>
              <a:gd name="connsiteX160" fmla="*/ 3966760 w 8009775"/>
              <a:gd name="connsiteY160" fmla="*/ 2353628 h 6858000"/>
              <a:gd name="connsiteX161" fmla="*/ 3972671 w 8009775"/>
              <a:gd name="connsiteY161" fmla="*/ 2351723 h 6858000"/>
              <a:gd name="connsiteX162" fmla="*/ 3978287 w 8009775"/>
              <a:gd name="connsiteY162" fmla="*/ 2349818 h 6858000"/>
              <a:gd name="connsiteX163" fmla="*/ 3983607 w 8009775"/>
              <a:gd name="connsiteY163" fmla="*/ 2347595 h 6858000"/>
              <a:gd name="connsiteX164" fmla="*/ 3989223 w 8009775"/>
              <a:gd name="connsiteY164" fmla="*/ 2344738 h 6858000"/>
              <a:gd name="connsiteX165" fmla="*/ 3994543 w 8009775"/>
              <a:gd name="connsiteY165" fmla="*/ 2341880 h 6858000"/>
              <a:gd name="connsiteX166" fmla="*/ 3999567 w 8009775"/>
              <a:gd name="connsiteY166" fmla="*/ 2338705 h 6858000"/>
              <a:gd name="connsiteX167" fmla="*/ 4004888 w 8009775"/>
              <a:gd name="connsiteY167" fmla="*/ 2334895 h 6858000"/>
              <a:gd name="connsiteX168" fmla="*/ 4009617 w 8009775"/>
              <a:gd name="connsiteY168" fmla="*/ 2331085 h 6858000"/>
              <a:gd name="connsiteX169" fmla="*/ 4014346 w 8009775"/>
              <a:gd name="connsiteY169" fmla="*/ 2326958 h 6858000"/>
              <a:gd name="connsiteX170" fmla="*/ 4018779 w 8009775"/>
              <a:gd name="connsiteY170" fmla="*/ 2322830 h 6858000"/>
              <a:gd name="connsiteX171" fmla="*/ 4023213 w 8009775"/>
              <a:gd name="connsiteY171" fmla="*/ 2318068 h 6858000"/>
              <a:gd name="connsiteX172" fmla="*/ 4027646 w 8009775"/>
              <a:gd name="connsiteY172" fmla="*/ 2313306 h 6858000"/>
              <a:gd name="connsiteX173" fmla="*/ 4031193 w 8009775"/>
              <a:gd name="connsiteY173" fmla="*/ 2308544 h 6858000"/>
              <a:gd name="connsiteX174" fmla="*/ 4034740 w 8009775"/>
              <a:gd name="connsiteY174" fmla="*/ 2303463 h 6858000"/>
              <a:gd name="connsiteX175" fmla="*/ 4037991 w 8009775"/>
              <a:gd name="connsiteY175" fmla="*/ 2298384 h 6858000"/>
              <a:gd name="connsiteX176" fmla="*/ 4040946 w 8009775"/>
              <a:gd name="connsiteY176" fmla="*/ 2292985 h 6858000"/>
              <a:gd name="connsiteX177" fmla="*/ 4043606 w 8009775"/>
              <a:gd name="connsiteY177" fmla="*/ 2287588 h 6858000"/>
              <a:gd name="connsiteX178" fmla="*/ 4046267 w 8009775"/>
              <a:gd name="connsiteY178" fmla="*/ 2281873 h 6858000"/>
              <a:gd name="connsiteX179" fmla="*/ 4048040 w 8009775"/>
              <a:gd name="connsiteY179" fmla="*/ 2276476 h 6858000"/>
              <a:gd name="connsiteX180" fmla="*/ 4050109 w 8009775"/>
              <a:gd name="connsiteY180" fmla="*/ 2270761 h 6858000"/>
              <a:gd name="connsiteX181" fmla="*/ 4051587 w 8009775"/>
              <a:gd name="connsiteY181" fmla="*/ 2265046 h 6858000"/>
              <a:gd name="connsiteX182" fmla="*/ 4052769 w 8009775"/>
              <a:gd name="connsiteY182" fmla="*/ 2259331 h 6858000"/>
              <a:gd name="connsiteX183" fmla="*/ 4053656 w 8009775"/>
              <a:gd name="connsiteY183" fmla="*/ 2253298 h 6858000"/>
              <a:gd name="connsiteX184" fmla="*/ 4054542 w 8009775"/>
              <a:gd name="connsiteY184" fmla="*/ 2247266 h 6858000"/>
              <a:gd name="connsiteX185" fmla="*/ 4054838 w 8009775"/>
              <a:gd name="connsiteY185" fmla="*/ 2241551 h 6858000"/>
              <a:gd name="connsiteX186" fmla="*/ 4055133 w 8009775"/>
              <a:gd name="connsiteY186" fmla="*/ 2235519 h 6858000"/>
              <a:gd name="connsiteX187" fmla="*/ 4054838 w 8009775"/>
              <a:gd name="connsiteY187" fmla="*/ 2229804 h 6858000"/>
              <a:gd name="connsiteX188" fmla="*/ 4054542 w 8009775"/>
              <a:gd name="connsiteY188" fmla="*/ 2223770 h 6858000"/>
              <a:gd name="connsiteX189" fmla="*/ 4053656 w 8009775"/>
              <a:gd name="connsiteY189" fmla="*/ 2217739 h 6858000"/>
              <a:gd name="connsiteX190" fmla="*/ 4052769 w 8009775"/>
              <a:gd name="connsiteY190" fmla="*/ 2212024 h 6858000"/>
              <a:gd name="connsiteX191" fmla="*/ 4051587 w 8009775"/>
              <a:gd name="connsiteY191" fmla="*/ 2206309 h 6858000"/>
              <a:gd name="connsiteX192" fmla="*/ 4050109 w 8009775"/>
              <a:gd name="connsiteY192" fmla="*/ 2200593 h 6858000"/>
              <a:gd name="connsiteX193" fmla="*/ 4048040 w 8009775"/>
              <a:gd name="connsiteY193" fmla="*/ 2194878 h 6858000"/>
              <a:gd name="connsiteX194" fmla="*/ 4046267 w 8009775"/>
              <a:gd name="connsiteY194" fmla="*/ 2189163 h 6858000"/>
              <a:gd name="connsiteX195" fmla="*/ 4043606 w 8009775"/>
              <a:gd name="connsiteY195" fmla="*/ 2183765 h 6858000"/>
              <a:gd name="connsiteX196" fmla="*/ 4040946 w 8009775"/>
              <a:gd name="connsiteY196" fmla="*/ 2178368 h 6858000"/>
              <a:gd name="connsiteX197" fmla="*/ 4037991 w 8009775"/>
              <a:gd name="connsiteY197" fmla="*/ 2172970 h 6858000"/>
              <a:gd name="connsiteX198" fmla="*/ 4034740 w 8009775"/>
              <a:gd name="connsiteY198" fmla="*/ 2167890 h 6858000"/>
              <a:gd name="connsiteX199" fmla="*/ 4031193 w 8009775"/>
              <a:gd name="connsiteY199" fmla="*/ 2162494 h 6858000"/>
              <a:gd name="connsiteX200" fmla="*/ 4027646 w 8009775"/>
              <a:gd name="connsiteY200" fmla="*/ 2157730 h 6858000"/>
              <a:gd name="connsiteX201" fmla="*/ 4023213 w 8009775"/>
              <a:gd name="connsiteY201" fmla="*/ 2153285 h 6858000"/>
              <a:gd name="connsiteX202" fmla="*/ 4018779 w 8009775"/>
              <a:gd name="connsiteY202" fmla="*/ 2148523 h 6858000"/>
              <a:gd name="connsiteX203" fmla="*/ 3632182 w 8009775"/>
              <a:gd name="connsiteY203" fmla="*/ 1761490 h 6858000"/>
              <a:gd name="connsiteX204" fmla="*/ 3435928 w 8009775"/>
              <a:gd name="connsiteY204" fmla="*/ 1565276 h 6858000"/>
              <a:gd name="connsiteX205" fmla="*/ 3431198 w 8009775"/>
              <a:gd name="connsiteY205" fmla="*/ 1560514 h 6858000"/>
              <a:gd name="connsiteX206" fmla="*/ 3427356 w 8009775"/>
              <a:gd name="connsiteY206" fmla="*/ 1555751 h 6858000"/>
              <a:gd name="connsiteX207" fmla="*/ 3423218 w 8009775"/>
              <a:gd name="connsiteY207" fmla="*/ 1550671 h 6858000"/>
              <a:gd name="connsiteX208" fmla="*/ 3420262 w 8009775"/>
              <a:gd name="connsiteY208" fmla="*/ 1545909 h 6858000"/>
              <a:gd name="connsiteX209" fmla="*/ 3417012 w 8009775"/>
              <a:gd name="connsiteY209" fmla="*/ 1540829 h 6858000"/>
              <a:gd name="connsiteX210" fmla="*/ 3413760 w 8009775"/>
              <a:gd name="connsiteY210" fmla="*/ 1535430 h 6858000"/>
              <a:gd name="connsiteX211" fmla="*/ 3411100 w 8009775"/>
              <a:gd name="connsiteY211" fmla="*/ 1530034 h 6858000"/>
              <a:gd name="connsiteX212" fmla="*/ 3408736 w 8009775"/>
              <a:gd name="connsiteY212" fmla="*/ 1524635 h 6858000"/>
              <a:gd name="connsiteX213" fmla="*/ 3406371 w 8009775"/>
              <a:gd name="connsiteY213" fmla="*/ 1518920 h 6858000"/>
              <a:gd name="connsiteX214" fmla="*/ 3404598 w 8009775"/>
              <a:gd name="connsiteY214" fmla="*/ 1513205 h 6858000"/>
              <a:gd name="connsiteX215" fmla="*/ 3403120 w 8009775"/>
              <a:gd name="connsiteY215" fmla="*/ 1507174 h 6858000"/>
              <a:gd name="connsiteX216" fmla="*/ 3401938 w 8009775"/>
              <a:gd name="connsiteY216" fmla="*/ 1501459 h 6858000"/>
              <a:gd name="connsiteX217" fmla="*/ 3401051 w 8009775"/>
              <a:gd name="connsiteY217" fmla="*/ 1495744 h 6858000"/>
              <a:gd name="connsiteX218" fmla="*/ 3400460 w 8009775"/>
              <a:gd name="connsiteY218" fmla="*/ 1489710 h 6858000"/>
              <a:gd name="connsiteX219" fmla="*/ 3399869 w 8009775"/>
              <a:gd name="connsiteY219" fmla="*/ 1483995 h 6858000"/>
              <a:gd name="connsiteX220" fmla="*/ 3399573 w 8009775"/>
              <a:gd name="connsiteY220" fmla="*/ 1478281 h 6858000"/>
              <a:gd name="connsiteX221" fmla="*/ 3399869 w 8009775"/>
              <a:gd name="connsiteY221" fmla="*/ 1472249 h 6858000"/>
              <a:gd name="connsiteX222" fmla="*/ 3400460 w 8009775"/>
              <a:gd name="connsiteY222" fmla="*/ 1466215 h 6858000"/>
              <a:gd name="connsiteX223" fmla="*/ 3401051 w 8009775"/>
              <a:gd name="connsiteY223" fmla="*/ 1460183 h 6858000"/>
              <a:gd name="connsiteX224" fmla="*/ 3401938 w 8009775"/>
              <a:gd name="connsiteY224" fmla="*/ 1454468 h 6858000"/>
              <a:gd name="connsiteX225" fmla="*/ 3403120 w 8009775"/>
              <a:gd name="connsiteY225" fmla="*/ 1448754 h 6858000"/>
              <a:gd name="connsiteX226" fmla="*/ 3404598 w 8009775"/>
              <a:gd name="connsiteY226" fmla="*/ 1443039 h 6858000"/>
              <a:gd name="connsiteX227" fmla="*/ 3406371 w 8009775"/>
              <a:gd name="connsiteY227" fmla="*/ 1437324 h 6858000"/>
              <a:gd name="connsiteX228" fmla="*/ 3408736 w 8009775"/>
              <a:gd name="connsiteY228" fmla="*/ 1431609 h 6858000"/>
              <a:gd name="connsiteX229" fmla="*/ 3411100 w 8009775"/>
              <a:gd name="connsiteY229" fmla="*/ 1426211 h 6858000"/>
              <a:gd name="connsiteX230" fmla="*/ 3413760 w 8009775"/>
              <a:gd name="connsiteY230" fmla="*/ 1420814 h 6858000"/>
              <a:gd name="connsiteX231" fmla="*/ 3417012 w 8009775"/>
              <a:gd name="connsiteY231" fmla="*/ 1415416 h 6858000"/>
              <a:gd name="connsiteX232" fmla="*/ 3420262 w 8009775"/>
              <a:gd name="connsiteY232" fmla="*/ 1410336 h 6858000"/>
              <a:gd name="connsiteX233" fmla="*/ 3423218 w 8009775"/>
              <a:gd name="connsiteY233" fmla="*/ 1405256 h 6858000"/>
              <a:gd name="connsiteX234" fmla="*/ 3427356 w 8009775"/>
              <a:gd name="connsiteY234" fmla="*/ 1400175 h 6858000"/>
              <a:gd name="connsiteX235" fmla="*/ 3431198 w 8009775"/>
              <a:gd name="connsiteY235" fmla="*/ 1395731 h 6858000"/>
              <a:gd name="connsiteX236" fmla="*/ 3435928 w 8009775"/>
              <a:gd name="connsiteY236" fmla="*/ 1390969 h 6858000"/>
              <a:gd name="connsiteX237" fmla="*/ 3440361 w 8009775"/>
              <a:gd name="connsiteY237" fmla="*/ 1386524 h 6858000"/>
              <a:gd name="connsiteX238" fmla="*/ 3445386 w 8009775"/>
              <a:gd name="connsiteY238" fmla="*/ 1382396 h 6858000"/>
              <a:gd name="connsiteX239" fmla="*/ 3449819 w 8009775"/>
              <a:gd name="connsiteY239" fmla="*/ 1378585 h 6858000"/>
              <a:gd name="connsiteX240" fmla="*/ 3454844 w 8009775"/>
              <a:gd name="connsiteY240" fmla="*/ 1375094 h 6858000"/>
              <a:gd name="connsiteX241" fmla="*/ 3460459 w 8009775"/>
              <a:gd name="connsiteY241" fmla="*/ 1371919 h 6858000"/>
              <a:gd name="connsiteX242" fmla="*/ 3465780 w 8009775"/>
              <a:gd name="connsiteY242" fmla="*/ 1369061 h 6858000"/>
              <a:gd name="connsiteX243" fmla="*/ 3471100 w 8009775"/>
              <a:gd name="connsiteY243" fmla="*/ 1366204 h 6858000"/>
              <a:gd name="connsiteX244" fmla="*/ 3476420 w 8009775"/>
              <a:gd name="connsiteY244" fmla="*/ 1363980 h 6858000"/>
              <a:gd name="connsiteX245" fmla="*/ 3482331 w 8009775"/>
              <a:gd name="connsiteY245" fmla="*/ 1361759 h 6858000"/>
              <a:gd name="connsiteX246" fmla="*/ 3487947 w 8009775"/>
              <a:gd name="connsiteY246" fmla="*/ 1360170 h 6858000"/>
              <a:gd name="connsiteX247" fmla="*/ 3493858 w 8009775"/>
              <a:gd name="connsiteY247" fmla="*/ 1358265 h 6858000"/>
              <a:gd name="connsiteX248" fmla="*/ 3499474 w 8009775"/>
              <a:gd name="connsiteY248" fmla="*/ 1357314 h 6858000"/>
              <a:gd name="connsiteX249" fmla="*/ 3505385 w 8009775"/>
              <a:gd name="connsiteY249" fmla="*/ 1356043 h 6858000"/>
              <a:gd name="connsiteX250" fmla="*/ 3511001 w 8009775"/>
              <a:gd name="connsiteY250" fmla="*/ 1355409 h 6858000"/>
              <a:gd name="connsiteX251" fmla="*/ 3517208 w 8009775"/>
              <a:gd name="connsiteY251" fmla="*/ 1355090 h 6858000"/>
              <a:gd name="connsiteX252" fmla="*/ 3522823 w 8009775"/>
              <a:gd name="connsiteY252" fmla="*/ 1354773 h 6858000"/>
              <a:gd name="connsiteX253" fmla="*/ 3529030 w 8009775"/>
              <a:gd name="connsiteY253" fmla="*/ 1355090 h 6858000"/>
              <a:gd name="connsiteX254" fmla="*/ 3534646 w 8009775"/>
              <a:gd name="connsiteY254" fmla="*/ 1355409 h 6858000"/>
              <a:gd name="connsiteX255" fmla="*/ 3540557 w 8009775"/>
              <a:gd name="connsiteY255" fmla="*/ 1356043 h 6858000"/>
              <a:gd name="connsiteX256" fmla="*/ 3546468 w 8009775"/>
              <a:gd name="connsiteY256" fmla="*/ 1357314 h 6858000"/>
              <a:gd name="connsiteX257" fmla="*/ 3552380 w 8009775"/>
              <a:gd name="connsiteY257" fmla="*/ 1358265 h 6858000"/>
              <a:gd name="connsiteX258" fmla="*/ 3557995 w 8009775"/>
              <a:gd name="connsiteY258" fmla="*/ 1360170 h 6858000"/>
              <a:gd name="connsiteX259" fmla="*/ 3563906 w 8009775"/>
              <a:gd name="connsiteY259" fmla="*/ 1361759 h 6858000"/>
              <a:gd name="connsiteX260" fmla="*/ 3569227 w 8009775"/>
              <a:gd name="connsiteY260" fmla="*/ 1363980 h 6858000"/>
              <a:gd name="connsiteX261" fmla="*/ 3574842 w 8009775"/>
              <a:gd name="connsiteY261" fmla="*/ 1366204 h 6858000"/>
              <a:gd name="connsiteX262" fmla="*/ 3580458 w 8009775"/>
              <a:gd name="connsiteY262" fmla="*/ 1369061 h 6858000"/>
              <a:gd name="connsiteX263" fmla="*/ 3585778 w 8009775"/>
              <a:gd name="connsiteY263" fmla="*/ 1371919 h 6858000"/>
              <a:gd name="connsiteX264" fmla="*/ 3590803 w 8009775"/>
              <a:gd name="connsiteY264" fmla="*/ 1375094 h 6858000"/>
              <a:gd name="connsiteX265" fmla="*/ 3595828 w 8009775"/>
              <a:gd name="connsiteY265" fmla="*/ 1378585 h 6858000"/>
              <a:gd name="connsiteX266" fmla="*/ 3600852 w 8009775"/>
              <a:gd name="connsiteY266" fmla="*/ 1382396 h 6858000"/>
              <a:gd name="connsiteX267" fmla="*/ 3605581 w 8009775"/>
              <a:gd name="connsiteY267" fmla="*/ 1386524 h 6858000"/>
              <a:gd name="connsiteX268" fmla="*/ 3610014 w 8009775"/>
              <a:gd name="connsiteY268" fmla="*/ 1390969 h 6858000"/>
              <a:gd name="connsiteX269" fmla="*/ 3817500 w 8009775"/>
              <a:gd name="connsiteY269" fmla="*/ 1598296 h 6858000"/>
              <a:gd name="connsiteX270" fmla="*/ 3821934 w 8009775"/>
              <a:gd name="connsiteY270" fmla="*/ 1602423 h 6858000"/>
              <a:gd name="connsiteX271" fmla="*/ 3826663 w 8009775"/>
              <a:gd name="connsiteY271" fmla="*/ 1606869 h 6858000"/>
              <a:gd name="connsiteX272" fmla="*/ 3831687 w 8009775"/>
              <a:gd name="connsiteY272" fmla="*/ 1610361 h 6858000"/>
              <a:gd name="connsiteX273" fmla="*/ 3836712 w 8009775"/>
              <a:gd name="connsiteY273" fmla="*/ 1613854 h 6858000"/>
              <a:gd name="connsiteX274" fmla="*/ 3841736 w 8009775"/>
              <a:gd name="connsiteY274" fmla="*/ 1617345 h 6858000"/>
              <a:gd name="connsiteX275" fmla="*/ 3847352 w 8009775"/>
              <a:gd name="connsiteY275" fmla="*/ 1620204 h 6858000"/>
              <a:gd name="connsiteX276" fmla="*/ 3852672 w 8009775"/>
              <a:gd name="connsiteY276" fmla="*/ 1623061 h 6858000"/>
              <a:gd name="connsiteX277" fmla="*/ 3857992 w 8009775"/>
              <a:gd name="connsiteY277" fmla="*/ 1625283 h 6858000"/>
              <a:gd name="connsiteX278" fmla="*/ 3863608 w 8009775"/>
              <a:gd name="connsiteY278" fmla="*/ 1627189 h 6858000"/>
              <a:gd name="connsiteX279" fmla="*/ 3869519 w 8009775"/>
              <a:gd name="connsiteY279" fmla="*/ 1629094 h 6858000"/>
              <a:gd name="connsiteX280" fmla="*/ 3875135 w 8009775"/>
              <a:gd name="connsiteY280" fmla="*/ 1630998 h 6858000"/>
              <a:gd name="connsiteX281" fmla="*/ 3881046 w 8009775"/>
              <a:gd name="connsiteY281" fmla="*/ 1631950 h 6858000"/>
              <a:gd name="connsiteX282" fmla="*/ 3886662 w 8009775"/>
              <a:gd name="connsiteY282" fmla="*/ 1632904 h 6858000"/>
              <a:gd name="connsiteX283" fmla="*/ 3892869 w 8009775"/>
              <a:gd name="connsiteY283" fmla="*/ 1633856 h 6858000"/>
              <a:gd name="connsiteX284" fmla="*/ 3898485 w 8009775"/>
              <a:gd name="connsiteY284" fmla="*/ 1634174 h 6858000"/>
              <a:gd name="connsiteX285" fmla="*/ 3904396 w 8009775"/>
              <a:gd name="connsiteY285" fmla="*/ 1634174 h 6858000"/>
              <a:gd name="connsiteX286" fmla="*/ 3910307 w 8009775"/>
              <a:gd name="connsiteY286" fmla="*/ 1634174 h 6858000"/>
              <a:gd name="connsiteX287" fmla="*/ 3916219 w 8009775"/>
              <a:gd name="connsiteY287" fmla="*/ 1633856 h 6858000"/>
              <a:gd name="connsiteX288" fmla="*/ 3922425 w 8009775"/>
              <a:gd name="connsiteY288" fmla="*/ 1632904 h 6858000"/>
              <a:gd name="connsiteX289" fmla="*/ 3928041 w 8009775"/>
              <a:gd name="connsiteY289" fmla="*/ 1631950 h 6858000"/>
              <a:gd name="connsiteX290" fmla="*/ 3933657 w 8009775"/>
              <a:gd name="connsiteY290" fmla="*/ 1630998 h 6858000"/>
              <a:gd name="connsiteX291" fmla="*/ 3939568 w 8009775"/>
              <a:gd name="connsiteY291" fmla="*/ 1629094 h 6858000"/>
              <a:gd name="connsiteX292" fmla="*/ 3945184 w 8009775"/>
              <a:gd name="connsiteY292" fmla="*/ 1627189 h 6858000"/>
              <a:gd name="connsiteX293" fmla="*/ 3950799 w 8009775"/>
              <a:gd name="connsiteY293" fmla="*/ 1625283 h 6858000"/>
              <a:gd name="connsiteX294" fmla="*/ 3956415 w 8009775"/>
              <a:gd name="connsiteY294" fmla="*/ 1623061 h 6858000"/>
              <a:gd name="connsiteX295" fmla="*/ 3961735 w 8009775"/>
              <a:gd name="connsiteY295" fmla="*/ 1620204 h 6858000"/>
              <a:gd name="connsiteX296" fmla="*/ 3967055 w 8009775"/>
              <a:gd name="connsiteY296" fmla="*/ 1617345 h 6858000"/>
              <a:gd name="connsiteX297" fmla="*/ 3972376 w 8009775"/>
              <a:gd name="connsiteY297" fmla="*/ 1613854 h 6858000"/>
              <a:gd name="connsiteX298" fmla="*/ 3977400 w 8009775"/>
              <a:gd name="connsiteY298" fmla="*/ 1610361 h 6858000"/>
              <a:gd name="connsiteX299" fmla="*/ 3982425 w 8009775"/>
              <a:gd name="connsiteY299" fmla="*/ 1606869 h 6858000"/>
              <a:gd name="connsiteX300" fmla="*/ 3986858 w 8009775"/>
              <a:gd name="connsiteY300" fmla="*/ 1602423 h 6858000"/>
              <a:gd name="connsiteX301" fmla="*/ 3991587 w 8009775"/>
              <a:gd name="connsiteY301" fmla="*/ 1598296 h 6858000"/>
              <a:gd name="connsiteX302" fmla="*/ 3996021 w 8009775"/>
              <a:gd name="connsiteY302" fmla="*/ 1593533 h 6858000"/>
              <a:gd name="connsiteX303" fmla="*/ 4000159 w 8009775"/>
              <a:gd name="connsiteY303" fmla="*/ 1588771 h 6858000"/>
              <a:gd name="connsiteX304" fmla="*/ 4003705 w 8009775"/>
              <a:gd name="connsiteY304" fmla="*/ 1583691 h 6858000"/>
              <a:gd name="connsiteX305" fmla="*/ 4007548 w 8009775"/>
              <a:gd name="connsiteY305" fmla="*/ 1578928 h 6858000"/>
              <a:gd name="connsiteX306" fmla="*/ 4010799 w 8009775"/>
              <a:gd name="connsiteY306" fmla="*/ 1573849 h 6858000"/>
              <a:gd name="connsiteX307" fmla="*/ 4013459 w 8009775"/>
              <a:gd name="connsiteY307" fmla="*/ 1568451 h 6858000"/>
              <a:gd name="connsiteX308" fmla="*/ 4016415 w 8009775"/>
              <a:gd name="connsiteY308" fmla="*/ 1563054 h 6858000"/>
              <a:gd name="connsiteX309" fmla="*/ 4018484 w 8009775"/>
              <a:gd name="connsiteY309" fmla="*/ 1557339 h 6858000"/>
              <a:gd name="connsiteX310" fmla="*/ 4020848 w 8009775"/>
              <a:gd name="connsiteY310" fmla="*/ 1551941 h 6858000"/>
              <a:gd name="connsiteX311" fmla="*/ 4022621 w 8009775"/>
              <a:gd name="connsiteY311" fmla="*/ 1546226 h 6858000"/>
              <a:gd name="connsiteX312" fmla="*/ 4024395 w 8009775"/>
              <a:gd name="connsiteY312" fmla="*/ 1540511 h 6858000"/>
              <a:gd name="connsiteX313" fmla="*/ 4025282 w 8009775"/>
              <a:gd name="connsiteY313" fmla="*/ 1534478 h 6858000"/>
              <a:gd name="connsiteX314" fmla="*/ 4026464 w 8009775"/>
              <a:gd name="connsiteY314" fmla="*/ 1528763 h 6858000"/>
              <a:gd name="connsiteX315" fmla="*/ 4027055 w 8009775"/>
              <a:gd name="connsiteY315" fmla="*/ 1522731 h 6858000"/>
              <a:gd name="connsiteX316" fmla="*/ 4027646 w 8009775"/>
              <a:gd name="connsiteY316" fmla="*/ 1517016 h 6858000"/>
              <a:gd name="connsiteX317" fmla="*/ 4027646 w 8009775"/>
              <a:gd name="connsiteY317" fmla="*/ 1510984 h 6858000"/>
              <a:gd name="connsiteX318" fmla="*/ 4027646 w 8009775"/>
              <a:gd name="connsiteY318" fmla="*/ 1505268 h 6858000"/>
              <a:gd name="connsiteX319" fmla="*/ 4027055 w 8009775"/>
              <a:gd name="connsiteY319" fmla="*/ 1499553 h 6858000"/>
              <a:gd name="connsiteX320" fmla="*/ 4026464 w 8009775"/>
              <a:gd name="connsiteY320" fmla="*/ 1493204 h 6858000"/>
              <a:gd name="connsiteX321" fmla="*/ 4025282 w 8009775"/>
              <a:gd name="connsiteY321" fmla="*/ 1487489 h 6858000"/>
              <a:gd name="connsiteX322" fmla="*/ 4024395 w 8009775"/>
              <a:gd name="connsiteY322" fmla="*/ 1481773 h 6858000"/>
              <a:gd name="connsiteX323" fmla="*/ 4022621 w 8009775"/>
              <a:gd name="connsiteY323" fmla="*/ 1476058 h 6858000"/>
              <a:gd name="connsiteX324" fmla="*/ 4020848 w 8009775"/>
              <a:gd name="connsiteY324" fmla="*/ 1470343 h 6858000"/>
              <a:gd name="connsiteX325" fmla="*/ 4018484 w 8009775"/>
              <a:gd name="connsiteY325" fmla="*/ 1464629 h 6858000"/>
              <a:gd name="connsiteX326" fmla="*/ 4016415 w 8009775"/>
              <a:gd name="connsiteY326" fmla="*/ 1459231 h 6858000"/>
              <a:gd name="connsiteX327" fmla="*/ 4013459 w 8009775"/>
              <a:gd name="connsiteY327" fmla="*/ 1453834 h 6858000"/>
              <a:gd name="connsiteX328" fmla="*/ 4010799 w 8009775"/>
              <a:gd name="connsiteY328" fmla="*/ 1448436 h 6858000"/>
              <a:gd name="connsiteX329" fmla="*/ 4007548 w 8009775"/>
              <a:gd name="connsiteY329" fmla="*/ 1443356 h 6858000"/>
              <a:gd name="connsiteX330" fmla="*/ 4003705 w 8009775"/>
              <a:gd name="connsiteY330" fmla="*/ 1438275 h 6858000"/>
              <a:gd name="connsiteX331" fmla="*/ 4000159 w 8009775"/>
              <a:gd name="connsiteY331" fmla="*/ 1433195 h 6858000"/>
              <a:gd name="connsiteX332" fmla="*/ 3996021 w 8009775"/>
              <a:gd name="connsiteY332" fmla="*/ 1428751 h 6858000"/>
              <a:gd name="connsiteX333" fmla="*/ 3991587 w 8009775"/>
              <a:gd name="connsiteY333" fmla="*/ 1423988 h 6858000"/>
              <a:gd name="connsiteX334" fmla="*/ 3323022 w 8009775"/>
              <a:gd name="connsiteY334" fmla="*/ 755333 h 6858000"/>
              <a:gd name="connsiteX335" fmla="*/ 3316815 w 8009775"/>
              <a:gd name="connsiteY335" fmla="*/ 748348 h 6858000"/>
              <a:gd name="connsiteX336" fmla="*/ 3310904 w 8009775"/>
              <a:gd name="connsiteY336" fmla="*/ 741045 h 6858000"/>
              <a:gd name="connsiteX337" fmla="*/ 3305584 w 8009775"/>
              <a:gd name="connsiteY337" fmla="*/ 733108 h 6858000"/>
              <a:gd name="connsiteX338" fmla="*/ 3300855 w 8009775"/>
              <a:gd name="connsiteY338" fmla="*/ 725170 h 6858000"/>
              <a:gd name="connsiteX339" fmla="*/ 3297308 w 8009775"/>
              <a:gd name="connsiteY339" fmla="*/ 716915 h 6858000"/>
              <a:gd name="connsiteX340" fmla="*/ 3293761 w 8009775"/>
              <a:gd name="connsiteY340" fmla="*/ 708660 h 6858000"/>
              <a:gd name="connsiteX341" fmla="*/ 3291101 w 8009775"/>
              <a:gd name="connsiteY341" fmla="*/ 699770 h 6858000"/>
              <a:gd name="connsiteX342" fmla="*/ 3289328 w 8009775"/>
              <a:gd name="connsiteY342" fmla="*/ 691198 h 6858000"/>
              <a:gd name="connsiteX343" fmla="*/ 2596527 w 8009775"/>
              <a:gd name="connsiteY343" fmla="*/ 0 h 6858000"/>
              <a:gd name="connsiteX0" fmla="*/ 2596527 w 8009775"/>
              <a:gd name="connsiteY0" fmla="*/ 0 h 6858000"/>
              <a:gd name="connsiteX1" fmla="*/ 2165004 w 8009775"/>
              <a:gd name="connsiteY1" fmla="*/ 0 h 6858000"/>
              <a:gd name="connsiteX2" fmla="*/ 3265978 w 8009775"/>
              <a:gd name="connsiteY2" fmla="*/ 1101091 h 6858000"/>
              <a:gd name="connsiteX3" fmla="*/ 3270708 w 8009775"/>
              <a:gd name="connsiteY3" fmla="*/ 1105854 h 6858000"/>
              <a:gd name="connsiteX4" fmla="*/ 3274550 w 8009775"/>
              <a:gd name="connsiteY4" fmla="*/ 1110615 h 6858000"/>
              <a:gd name="connsiteX5" fmla="*/ 3278688 w 8009775"/>
              <a:gd name="connsiteY5" fmla="*/ 1115696 h 6858000"/>
              <a:gd name="connsiteX6" fmla="*/ 3282234 w 8009775"/>
              <a:gd name="connsiteY6" fmla="*/ 1120776 h 6858000"/>
              <a:gd name="connsiteX7" fmla="*/ 3285486 w 8009775"/>
              <a:gd name="connsiteY7" fmla="*/ 1126174 h 6858000"/>
              <a:gd name="connsiteX8" fmla="*/ 3288146 w 8009775"/>
              <a:gd name="connsiteY8" fmla="*/ 1131570 h 6858000"/>
              <a:gd name="connsiteX9" fmla="*/ 3291101 w 8009775"/>
              <a:gd name="connsiteY9" fmla="*/ 1136968 h 6858000"/>
              <a:gd name="connsiteX10" fmla="*/ 3293761 w 8009775"/>
              <a:gd name="connsiteY10" fmla="*/ 1142366 h 6858000"/>
              <a:gd name="connsiteX11" fmla="*/ 3295830 w 8009775"/>
              <a:gd name="connsiteY11" fmla="*/ 1148081 h 6858000"/>
              <a:gd name="connsiteX12" fmla="*/ 3297604 w 8009775"/>
              <a:gd name="connsiteY12" fmla="*/ 1153796 h 6858000"/>
              <a:gd name="connsiteX13" fmla="*/ 3299082 w 8009775"/>
              <a:gd name="connsiteY13" fmla="*/ 1159829 h 6858000"/>
              <a:gd name="connsiteX14" fmla="*/ 3300559 w 8009775"/>
              <a:gd name="connsiteY14" fmla="*/ 1165544 h 6858000"/>
              <a:gd name="connsiteX15" fmla="*/ 3301446 w 8009775"/>
              <a:gd name="connsiteY15" fmla="*/ 1171893 h 6858000"/>
              <a:gd name="connsiteX16" fmla="*/ 3302333 w 8009775"/>
              <a:gd name="connsiteY16" fmla="*/ 1177608 h 6858000"/>
              <a:gd name="connsiteX17" fmla="*/ 3302628 w 8009775"/>
              <a:gd name="connsiteY17" fmla="*/ 1183641 h 6858000"/>
              <a:gd name="connsiteX18" fmla="*/ 3302628 w 8009775"/>
              <a:gd name="connsiteY18" fmla="*/ 1189356 h 6858000"/>
              <a:gd name="connsiteX19" fmla="*/ 3302628 w 8009775"/>
              <a:gd name="connsiteY19" fmla="*/ 1195388 h 6858000"/>
              <a:gd name="connsiteX20" fmla="*/ 3302333 w 8009775"/>
              <a:gd name="connsiteY20" fmla="*/ 1201739 h 6858000"/>
              <a:gd name="connsiteX21" fmla="*/ 3301446 w 8009775"/>
              <a:gd name="connsiteY21" fmla="*/ 1207454 h 6858000"/>
              <a:gd name="connsiteX22" fmla="*/ 3300559 w 8009775"/>
              <a:gd name="connsiteY22" fmla="*/ 1213486 h 6858000"/>
              <a:gd name="connsiteX23" fmla="*/ 3299082 w 8009775"/>
              <a:gd name="connsiteY23" fmla="*/ 1219200 h 6858000"/>
              <a:gd name="connsiteX24" fmla="*/ 3297604 w 8009775"/>
              <a:gd name="connsiteY24" fmla="*/ 1225233 h 6858000"/>
              <a:gd name="connsiteX25" fmla="*/ 3295830 w 8009775"/>
              <a:gd name="connsiteY25" fmla="*/ 1230949 h 6858000"/>
              <a:gd name="connsiteX26" fmla="*/ 3293761 w 8009775"/>
              <a:gd name="connsiteY26" fmla="*/ 1236346 h 6858000"/>
              <a:gd name="connsiteX27" fmla="*/ 3291101 w 8009775"/>
              <a:gd name="connsiteY27" fmla="*/ 1242061 h 6858000"/>
              <a:gd name="connsiteX28" fmla="*/ 3288146 w 8009775"/>
              <a:gd name="connsiteY28" fmla="*/ 1247459 h 6858000"/>
              <a:gd name="connsiteX29" fmla="*/ 3285486 w 8009775"/>
              <a:gd name="connsiteY29" fmla="*/ 1252855 h 6858000"/>
              <a:gd name="connsiteX30" fmla="*/ 3282234 w 8009775"/>
              <a:gd name="connsiteY30" fmla="*/ 1258254 h 6858000"/>
              <a:gd name="connsiteX31" fmla="*/ 3278688 w 8009775"/>
              <a:gd name="connsiteY31" fmla="*/ 1263333 h 6858000"/>
              <a:gd name="connsiteX32" fmla="*/ 3274550 w 8009775"/>
              <a:gd name="connsiteY32" fmla="*/ 1268413 h 6858000"/>
              <a:gd name="connsiteX33" fmla="*/ 3270708 w 8009775"/>
              <a:gd name="connsiteY33" fmla="*/ 1273494 h 6858000"/>
              <a:gd name="connsiteX34" fmla="*/ 3265978 w 8009775"/>
              <a:gd name="connsiteY34" fmla="*/ 1278255 h 6858000"/>
              <a:gd name="connsiteX35" fmla="*/ 3261249 w 8009775"/>
              <a:gd name="connsiteY35" fmla="*/ 1282384 h 6858000"/>
              <a:gd name="connsiteX36" fmla="*/ 3256816 w 8009775"/>
              <a:gd name="connsiteY36" fmla="*/ 1286510 h 6858000"/>
              <a:gd name="connsiteX37" fmla="*/ 3251791 w 8009775"/>
              <a:gd name="connsiteY37" fmla="*/ 1290321 h 6858000"/>
              <a:gd name="connsiteX38" fmla="*/ 3246767 w 8009775"/>
              <a:gd name="connsiteY38" fmla="*/ 1293814 h 6858000"/>
              <a:gd name="connsiteX39" fmla="*/ 3241151 w 8009775"/>
              <a:gd name="connsiteY39" fmla="*/ 1297306 h 6858000"/>
              <a:gd name="connsiteX40" fmla="*/ 3235831 w 8009775"/>
              <a:gd name="connsiteY40" fmla="*/ 1300481 h 6858000"/>
              <a:gd name="connsiteX41" fmla="*/ 3230511 w 8009775"/>
              <a:gd name="connsiteY41" fmla="*/ 1303021 h 6858000"/>
              <a:gd name="connsiteX42" fmla="*/ 3224600 w 8009775"/>
              <a:gd name="connsiteY42" fmla="*/ 1305560 h 6858000"/>
              <a:gd name="connsiteX43" fmla="*/ 3218984 w 8009775"/>
              <a:gd name="connsiteY43" fmla="*/ 1307465 h 6858000"/>
              <a:gd name="connsiteX44" fmla="*/ 3213072 w 8009775"/>
              <a:gd name="connsiteY44" fmla="*/ 1309371 h 6858000"/>
              <a:gd name="connsiteX45" fmla="*/ 3207457 w 8009775"/>
              <a:gd name="connsiteY45" fmla="*/ 1311275 h 6858000"/>
              <a:gd name="connsiteX46" fmla="*/ 3201841 w 8009775"/>
              <a:gd name="connsiteY46" fmla="*/ 1312228 h 6858000"/>
              <a:gd name="connsiteX47" fmla="*/ 3195634 w 8009775"/>
              <a:gd name="connsiteY47" fmla="*/ 1313180 h 6858000"/>
              <a:gd name="connsiteX48" fmla="*/ 3189428 w 8009775"/>
              <a:gd name="connsiteY48" fmla="*/ 1314133 h 6858000"/>
              <a:gd name="connsiteX49" fmla="*/ 3183812 w 8009775"/>
              <a:gd name="connsiteY49" fmla="*/ 1314450 h 6858000"/>
              <a:gd name="connsiteX50" fmla="*/ 3177605 w 8009775"/>
              <a:gd name="connsiteY50" fmla="*/ 1314769 h 6858000"/>
              <a:gd name="connsiteX51" fmla="*/ 3171694 w 8009775"/>
              <a:gd name="connsiteY51" fmla="*/ 1314450 h 6858000"/>
              <a:gd name="connsiteX52" fmla="*/ 3165782 w 8009775"/>
              <a:gd name="connsiteY52" fmla="*/ 1314133 h 6858000"/>
              <a:gd name="connsiteX53" fmla="*/ 3159576 w 8009775"/>
              <a:gd name="connsiteY53" fmla="*/ 1313180 h 6858000"/>
              <a:gd name="connsiteX54" fmla="*/ 3153960 w 8009775"/>
              <a:gd name="connsiteY54" fmla="*/ 1312228 h 6858000"/>
              <a:gd name="connsiteX55" fmla="*/ 3147753 w 8009775"/>
              <a:gd name="connsiteY55" fmla="*/ 1311275 h 6858000"/>
              <a:gd name="connsiteX56" fmla="*/ 3142137 w 8009775"/>
              <a:gd name="connsiteY56" fmla="*/ 1309371 h 6858000"/>
              <a:gd name="connsiteX57" fmla="*/ 3136226 w 8009775"/>
              <a:gd name="connsiteY57" fmla="*/ 1307465 h 6858000"/>
              <a:gd name="connsiteX58" fmla="*/ 3130610 w 8009775"/>
              <a:gd name="connsiteY58" fmla="*/ 1305560 h 6858000"/>
              <a:gd name="connsiteX59" fmla="*/ 3124994 w 8009775"/>
              <a:gd name="connsiteY59" fmla="*/ 1303021 h 6858000"/>
              <a:gd name="connsiteX60" fmla="*/ 3119379 w 8009775"/>
              <a:gd name="connsiteY60" fmla="*/ 1300481 h 6858000"/>
              <a:gd name="connsiteX61" fmla="*/ 3114059 w 8009775"/>
              <a:gd name="connsiteY61" fmla="*/ 1297306 h 6858000"/>
              <a:gd name="connsiteX62" fmla="*/ 3109034 w 8009775"/>
              <a:gd name="connsiteY62" fmla="*/ 1293814 h 6858000"/>
              <a:gd name="connsiteX63" fmla="*/ 3103714 w 8009775"/>
              <a:gd name="connsiteY63" fmla="*/ 1290321 h 6858000"/>
              <a:gd name="connsiteX64" fmla="*/ 3098689 w 8009775"/>
              <a:gd name="connsiteY64" fmla="*/ 1286510 h 6858000"/>
              <a:gd name="connsiteX65" fmla="*/ 3093960 w 8009775"/>
              <a:gd name="connsiteY65" fmla="*/ 1282384 h 6858000"/>
              <a:gd name="connsiteX66" fmla="*/ 3089231 w 8009775"/>
              <a:gd name="connsiteY66" fmla="*/ 1278255 h 6858000"/>
              <a:gd name="connsiteX67" fmla="*/ 1811214 w 8009775"/>
              <a:gd name="connsiteY67" fmla="*/ 0 h 6858000"/>
              <a:gd name="connsiteX68" fmla="*/ 0 w 8009775"/>
              <a:gd name="connsiteY68" fmla="*/ 0 h 6858000"/>
              <a:gd name="connsiteX69" fmla="*/ 0 w 8009775"/>
              <a:gd name="connsiteY69" fmla="*/ 6858000 h 6858000"/>
              <a:gd name="connsiteX70" fmla="*/ 8009775 w 8009775"/>
              <a:gd name="connsiteY70" fmla="*/ 6858000 h 6858000"/>
              <a:gd name="connsiteX71" fmla="*/ 3996316 w 8009775"/>
              <a:gd name="connsiteY71" fmla="*/ 2818448 h 6858000"/>
              <a:gd name="connsiteX72" fmla="*/ 3001744 w 8009775"/>
              <a:gd name="connsiteY72" fmla="*/ 1828166 h 6858000"/>
              <a:gd name="connsiteX73" fmla="*/ 2997311 w 8009775"/>
              <a:gd name="connsiteY73" fmla="*/ 1823404 h 6858000"/>
              <a:gd name="connsiteX74" fmla="*/ 2992878 w 8009775"/>
              <a:gd name="connsiteY74" fmla="*/ 1818640 h 6858000"/>
              <a:gd name="connsiteX75" fmla="*/ 2989331 w 8009775"/>
              <a:gd name="connsiteY75" fmla="*/ 1814195 h 6858000"/>
              <a:gd name="connsiteX76" fmla="*/ 2985784 w 8009775"/>
              <a:gd name="connsiteY76" fmla="*/ 1808799 h 6858000"/>
              <a:gd name="connsiteX77" fmla="*/ 2982533 w 8009775"/>
              <a:gd name="connsiteY77" fmla="*/ 1803718 h 6858000"/>
              <a:gd name="connsiteX78" fmla="*/ 2979873 w 8009775"/>
              <a:gd name="connsiteY78" fmla="*/ 1798321 h 6858000"/>
              <a:gd name="connsiteX79" fmla="*/ 2976917 w 8009775"/>
              <a:gd name="connsiteY79" fmla="*/ 1792924 h 6858000"/>
              <a:gd name="connsiteX80" fmla="*/ 2974552 w 8009775"/>
              <a:gd name="connsiteY80" fmla="*/ 1787526 h 6858000"/>
              <a:gd name="connsiteX81" fmla="*/ 2972484 w 8009775"/>
              <a:gd name="connsiteY81" fmla="*/ 1781811 h 6858000"/>
              <a:gd name="connsiteX82" fmla="*/ 2970710 w 8009775"/>
              <a:gd name="connsiteY82" fmla="*/ 1776095 h 6858000"/>
              <a:gd name="connsiteX83" fmla="*/ 2968937 w 8009775"/>
              <a:gd name="connsiteY83" fmla="*/ 1770380 h 6858000"/>
              <a:gd name="connsiteX84" fmla="*/ 2967755 w 8009775"/>
              <a:gd name="connsiteY84" fmla="*/ 1764665 h 6858000"/>
              <a:gd name="connsiteX85" fmla="*/ 2966868 w 8009775"/>
              <a:gd name="connsiteY85" fmla="*/ 1758634 h 6858000"/>
              <a:gd name="connsiteX86" fmla="*/ 2965981 w 8009775"/>
              <a:gd name="connsiteY86" fmla="*/ 1752919 h 6858000"/>
              <a:gd name="connsiteX87" fmla="*/ 2965686 w 8009775"/>
              <a:gd name="connsiteY87" fmla="*/ 1746885 h 6858000"/>
              <a:gd name="connsiteX88" fmla="*/ 2965686 w 8009775"/>
              <a:gd name="connsiteY88" fmla="*/ 1741170 h 6858000"/>
              <a:gd name="connsiteX89" fmla="*/ 2965686 w 8009775"/>
              <a:gd name="connsiteY89" fmla="*/ 1735139 h 6858000"/>
              <a:gd name="connsiteX90" fmla="*/ 2965981 w 8009775"/>
              <a:gd name="connsiteY90" fmla="*/ 1729424 h 6858000"/>
              <a:gd name="connsiteX91" fmla="*/ 2966868 w 8009775"/>
              <a:gd name="connsiteY91" fmla="*/ 1723074 h 6858000"/>
              <a:gd name="connsiteX92" fmla="*/ 2967755 w 8009775"/>
              <a:gd name="connsiteY92" fmla="*/ 1717358 h 6858000"/>
              <a:gd name="connsiteX93" fmla="*/ 2968937 w 8009775"/>
              <a:gd name="connsiteY93" fmla="*/ 1711643 h 6858000"/>
              <a:gd name="connsiteX94" fmla="*/ 2970710 w 8009775"/>
              <a:gd name="connsiteY94" fmla="*/ 1705929 h 6858000"/>
              <a:gd name="connsiteX95" fmla="*/ 2972484 w 8009775"/>
              <a:gd name="connsiteY95" fmla="*/ 1700214 h 6858000"/>
              <a:gd name="connsiteX96" fmla="*/ 2974552 w 8009775"/>
              <a:gd name="connsiteY96" fmla="*/ 1694816 h 6858000"/>
              <a:gd name="connsiteX97" fmla="*/ 2976917 w 8009775"/>
              <a:gd name="connsiteY97" fmla="*/ 1689101 h 6858000"/>
              <a:gd name="connsiteX98" fmla="*/ 2979873 w 8009775"/>
              <a:gd name="connsiteY98" fmla="*/ 1683703 h 6858000"/>
              <a:gd name="connsiteX99" fmla="*/ 2982533 w 8009775"/>
              <a:gd name="connsiteY99" fmla="*/ 1678305 h 6858000"/>
              <a:gd name="connsiteX100" fmla="*/ 2985784 w 8009775"/>
              <a:gd name="connsiteY100" fmla="*/ 1673226 h 6858000"/>
              <a:gd name="connsiteX101" fmla="*/ 2989331 w 8009775"/>
              <a:gd name="connsiteY101" fmla="*/ 1668145 h 6858000"/>
              <a:gd name="connsiteX102" fmla="*/ 2992878 w 8009775"/>
              <a:gd name="connsiteY102" fmla="*/ 1663066 h 6858000"/>
              <a:gd name="connsiteX103" fmla="*/ 2997311 w 8009775"/>
              <a:gd name="connsiteY103" fmla="*/ 1658621 h 6858000"/>
              <a:gd name="connsiteX104" fmla="*/ 3001744 w 8009775"/>
              <a:gd name="connsiteY104" fmla="*/ 1653859 h 6858000"/>
              <a:gd name="connsiteX105" fmla="*/ 3006178 w 8009775"/>
              <a:gd name="connsiteY105" fmla="*/ 1649414 h 6858000"/>
              <a:gd name="connsiteX106" fmla="*/ 3010907 w 8009775"/>
              <a:gd name="connsiteY106" fmla="*/ 1645603 h 6858000"/>
              <a:gd name="connsiteX107" fmla="*/ 3015932 w 8009775"/>
              <a:gd name="connsiteY107" fmla="*/ 1641794 h 6858000"/>
              <a:gd name="connsiteX108" fmla="*/ 3020956 w 8009775"/>
              <a:gd name="connsiteY108" fmla="*/ 1637984 h 6858000"/>
              <a:gd name="connsiteX109" fmla="*/ 3025981 w 8009775"/>
              <a:gd name="connsiteY109" fmla="*/ 1634809 h 6858000"/>
              <a:gd name="connsiteX110" fmla="*/ 3031596 w 8009775"/>
              <a:gd name="connsiteY110" fmla="*/ 1631950 h 6858000"/>
              <a:gd name="connsiteX111" fmla="*/ 3036916 w 8009775"/>
              <a:gd name="connsiteY111" fmla="*/ 1629094 h 6858000"/>
              <a:gd name="connsiteX112" fmla="*/ 3042532 w 8009775"/>
              <a:gd name="connsiteY112" fmla="*/ 1626871 h 6858000"/>
              <a:gd name="connsiteX113" fmla="*/ 3047852 w 8009775"/>
              <a:gd name="connsiteY113" fmla="*/ 1624649 h 6858000"/>
              <a:gd name="connsiteX114" fmla="*/ 3053764 w 8009775"/>
              <a:gd name="connsiteY114" fmla="*/ 1623061 h 6858000"/>
              <a:gd name="connsiteX115" fmla="*/ 3059379 w 8009775"/>
              <a:gd name="connsiteY115" fmla="*/ 1621155 h 6858000"/>
              <a:gd name="connsiteX116" fmla="*/ 3065291 w 8009775"/>
              <a:gd name="connsiteY116" fmla="*/ 1620204 h 6858000"/>
              <a:gd name="connsiteX117" fmla="*/ 3070906 w 8009775"/>
              <a:gd name="connsiteY117" fmla="*/ 1618934 h 6858000"/>
              <a:gd name="connsiteX118" fmla="*/ 3077113 w 8009775"/>
              <a:gd name="connsiteY118" fmla="*/ 1618299 h 6858000"/>
              <a:gd name="connsiteX119" fmla="*/ 3082729 w 8009775"/>
              <a:gd name="connsiteY119" fmla="*/ 1617981 h 6858000"/>
              <a:gd name="connsiteX120" fmla="*/ 3088936 w 8009775"/>
              <a:gd name="connsiteY120" fmla="*/ 1617981 h 6858000"/>
              <a:gd name="connsiteX121" fmla="*/ 3094552 w 8009775"/>
              <a:gd name="connsiteY121" fmla="*/ 1617981 h 6858000"/>
              <a:gd name="connsiteX122" fmla="*/ 3100758 w 8009775"/>
              <a:gd name="connsiteY122" fmla="*/ 1618299 h 6858000"/>
              <a:gd name="connsiteX123" fmla="*/ 3106670 w 8009775"/>
              <a:gd name="connsiteY123" fmla="*/ 1618934 h 6858000"/>
              <a:gd name="connsiteX124" fmla="*/ 3112285 w 8009775"/>
              <a:gd name="connsiteY124" fmla="*/ 1620204 h 6858000"/>
              <a:gd name="connsiteX125" fmla="*/ 3117901 w 8009775"/>
              <a:gd name="connsiteY125" fmla="*/ 1621155 h 6858000"/>
              <a:gd name="connsiteX126" fmla="*/ 3123812 w 8009775"/>
              <a:gd name="connsiteY126" fmla="*/ 1623061 h 6858000"/>
              <a:gd name="connsiteX127" fmla="*/ 3129428 w 8009775"/>
              <a:gd name="connsiteY127" fmla="*/ 1624649 h 6858000"/>
              <a:gd name="connsiteX128" fmla="*/ 3135339 w 8009775"/>
              <a:gd name="connsiteY128" fmla="*/ 1626871 h 6858000"/>
              <a:gd name="connsiteX129" fmla="*/ 3140660 w 8009775"/>
              <a:gd name="connsiteY129" fmla="*/ 1629094 h 6858000"/>
              <a:gd name="connsiteX130" fmla="*/ 3145980 w 8009775"/>
              <a:gd name="connsiteY130" fmla="*/ 1631950 h 6858000"/>
              <a:gd name="connsiteX131" fmla="*/ 3151300 w 8009775"/>
              <a:gd name="connsiteY131" fmla="*/ 1634809 h 6858000"/>
              <a:gd name="connsiteX132" fmla="*/ 3156324 w 8009775"/>
              <a:gd name="connsiteY132" fmla="*/ 1637984 h 6858000"/>
              <a:gd name="connsiteX133" fmla="*/ 3161349 w 8009775"/>
              <a:gd name="connsiteY133" fmla="*/ 1641794 h 6858000"/>
              <a:gd name="connsiteX134" fmla="*/ 3166374 w 8009775"/>
              <a:gd name="connsiteY134" fmla="*/ 1645603 h 6858000"/>
              <a:gd name="connsiteX135" fmla="*/ 3171102 w 8009775"/>
              <a:gd name="connsiteY135" fmla="*/ 1649414 h 6858000"/>
              <a:gd name="connsiteX136" fmla="*/ 3175832 w 8009775"/>
              <a:gd name="connsiteY136" fmla="*/ 1653859 h 6858000"/>
              <a:gd name="connsiteX137" fmla="*/ 3844692 w 8009775"/>
              <a:gd name="connsiteY137" fmla="*/ 2322830 h 6858000"/>
              <a:gd name="connsiteX138" fmla="*/ 3849421 w 8009775"/>
              <a:gd name="connsiteY138" fmla="*/ 2326958 h 6858000"/>
              <a:gd name="connsiteX139" fmla="*/ 3854150 w 8009775"/>
              <a:gd name="connsiteY139" fmla="*/ 2331085 h 6858000"/>
              <a:gd name="connsiteX140" fmla="*/ 3859175 w 8009775"/>
              <a:gd name="connsiteY140" fmla="*/ 2334895 h 6858000"/>
              <a:gd name="connsiteX141" fmla="*/ 3864199 w 8009775"/>
              <a:gd name="connsiteY141" fmla="*/ 2338705 h 6858000"/>
              <a:gd name="connsiteX142" fmla="*/ 3869224 w 8009775"/>
              <a:gd name="connsiteY142" fmla="*/ 2341880 h 6858000"/>
              <a:gd name="connsiteX143" fmla="*/ 3874544 w 8009775"/>
              <a:gd name="connsiteY143" fmla="*/ 2344738 h 6858000"/>
              <a:gd name="connsiteX144" fmla="*/ 3879864 w 8009775"/>
              <a:gd name="connsiteY144" fmla="*/ 2347595 h 6858000"/>
              <a:gd name="connsiteX145" fmla="*/ 3885775 w 8009775"/>
              <a:gd name="connsiteY145" fmla="*/ 2349818 h 6858000"/>
              <a:gd name="connsiteX146" fmla="*/ 3891096 w 8009775"/>
              <a:gd name="connsiteY146" fmla="*/ 2351723 h 6858000"/>
              <a:gd name="connsiteX147" fmla="*/ 3896711 w 8009775"/>
              <a:gd name="connsiteY147" fmla="*/ 2353628 h 6858000"/>
              <a:gd name="connsiteX148" fmla="*/ 3902623 w 8009775"/>
              <a:gd name="connsiteY148" fmla="*/ 2355534 h 6858000"/>
              <a:gd name="connsiteX149" fmla="*/ 3908238 w 8009775"/>
              <a:gd name="connsiteY149" fmla="*/ 2356485 h 6858000"/>
              <a:gd name="connsiteX150" fmla="*/ 3914150 w 8009775"/>
              <a:gd name="connsiteY150" fmla="*/ 2357755 h 6858000"/>
              <a:gd name="connsiteX151" fmla="*/ 3920061 w 8009775"/>
              <a:gd name="connsiteY151" fmla="*/ 2358391 h 6858000"/>
              <a:gd name="connsiteX152" fmla="*/ 3925972 w 8009775"/>
              <a:gd name="connsiteY152" fmla="*/ 2358708 h 6858000"/>
              <a:gd name="connsiteX153" fmla="*/ 3931883 w 8009775"/>
              <a:gd name="connsiteY153" fmla="*/ 2358708 h 6858000"/>
              <a:gd name="connsiteX154" fmla="*/ 3937795 w 8009775"/>
              <a:gd name="connsiteY154" fmla="*/ 2358708 h 6858000"/>
              <a:gd name="connsiteX155" fmla="*/ 3943706 w 8009775"/>
              <a:gd name="connsiteY155" fmla="*/ 2358391 h 6858000"/>
              <a:gd name="connsiteX156" fmla="*/ 3949617 w 8009775"/>
              <a:gd name="connsiteY156" fmla="*/ 2357755 h 6858000"/>
              <a:gd name="connsiteX157" fmla="*/ 3955233 w 8009775"/>
              <a:gd name="connsiteY157" fmla="*/ 2356485 h 6858000"/>
              <a:gd name="connsiteX158" fmla="*/ 3961144 w 8009775"/>
              <a:gd name="connsiteY158" fmla="*/ 2355534 h 6858000"/>
              <a:gd name="connsiteX159" fmla="*/ 3966760 w 8009775"/>
              <a:gd name="connsiteY159" fmla="*/ 2353628 h 6858000"/>
              <a:gd name="connsiteX160" fmla="*/ 3972671 w 8009775"/>
              <a:gd name="connsiteY160" fmla="*/ 2351723 h 6858000"/>
              <a:gd name="connsiteX161" fmla="*/ 3978287 w 8009775"/>
              <a:gd name="connsiteY161" fmla="*/ 2349818 h 6858000"/>
              <a:gd name="connsiteX162" fmla="*/ 3983607 w 8009775"/>
              <a:gd name="connsiteY162" fmla="*/ 2347595 h 6858000"/>
              <a:gd name="connsiteX163" fmla="*/ 3989223 w 8009775"/>
              <a:gd name="connsiteY163" fmla="*/ 2344738 h 6858000"/>
              <a:gd name="connsiteX164" fmla="*/ 3994543 w 8009775"/>
              <a:gd name="connsiteY164" fmla="*/ 2341880 h 6858000"/>
              <a:gd name="connsiteX165" fmla="*/ 3999567 w 8009775"/>
              <a:gd name="connsiteY165" fmla="*/ 2338705 h 6858000"/>
              <a:gd name="connsiteX166" fmla="*/ 4004888 w 8009775"/>
              <a:gd name="connsiteY166" fmla="*/ 2334895 h 6858000"/>
              <a:gd name="connsiteX167" fmla="*/ 4009617 w 8009775"/>
              <a:gd name="connsiteY167" fmla="*/ 2331085 h 6858000"/>
              <a:gd name="connsiteX168" fmla="*/ 4014346 w 8009775"/>
              <a:gd name="connsiteY168" fmla="*/ 2326958 h 6858000"/>
              <a:gd name="connsiteX169" fmla="*/ 4018779 w 8009775"/>
              <a:gd name="connsiteY169" fmla="*/ 2322830 h 6858000"/>
              <a:gd name="connsiteX170" fmla="*/ 4023213 w 8009775"/>
              <a:gd name="connsiteY170" fmla="*/ 2318068 h 6858000"/>
              <a:gd name="connsiteX171" fmla="*/ 4027646 w 8009775"/>
              <a:gd name="connsiteY171" fmla="*/ 2313306 h 6858000"/>
              <a:gd name="connsiteX172" fmla="*/ 4031193 w 8009775"/>
              <a:gd name="connsiteY172" fmla="*/ 2308544 h 6858000"/>
              <a:gd name="connsiteX173" fmla="*/ 4034740 w 8009775"/>
              <a:gd name="connsiteY173" fmla="*/ 2303463 h 6858000"/>
              <a:gd name="connsiteX174" fmla="*/ 4037991 w 8009775"/>
              <a:gd name="connsiteY174" fmla="*/ 2298384 h 6858000"/>
              <a:gd name="connsiteX175" fmla="*/ 4040946 w 8009775"/>
              <a:gd name="connsiteY175" fmla="*/ 2292985 h 6858000"/>
              <a:gd name="connsiteX176" fmla="*/ 4043606 w 8009775"/>
              <a:gd name="connsiteY176" fmla="*/ 2287588 h 6858000"/>
              <a:gd name="connsiteX177" fmla="*/ 4046267 w 8009775"/>
              <a:gd name="connsiteY177" fmla="*/ 2281873 h 6858000"/>
              <a:gd name="connsiteX178" fmla="*/ 4048040 w 8009775"/>
              <a:gd name="connsiteY178" fmla="*/ 2276476 h 6858000"/>
              <a:gd name="connsiteX179" fmla="*/ 4050109 w 8009775"/>
              <a:gd name="connsiteY179" fmla="*/ 2270761 h 6858000"/>
              <a:gd name="connsiteX180" fmla="*/ 4051587 w 8009775"/>
              <a:gd name="connsiteY180" fmla="*/ 2265046 h 6858000"/>
              <a:gd name="connsiteX181" fmla="*/ 4052769 w 8009775"/>
              <a:gd name="connsiteY181" fmla="*/ 2259331 h 6858000"/>
              <a:gd name="connsiteX182" fmla="*/ 4053656 w 8009775"/>
              <a:gd name="connsiteY182" fmla="*/ 2253298 h 6858000"/>
              <a:gd name="connsiteX183" fmla="*/ 4054542 w 8009775"/>
              <a:gd name="connsiteY183" fmla="*/ 2247266 h 6858000"/>
              <a:gd name="connsiteX184" fmla="*/ 4054838 w 8009775"/>
              <a:gd name="connsiteY184" fmla="*/ 2241551 h 6858000"/>
              <a:gd name="connsiteX185" fmla="*/ 4055133 w 8009775"/>
              <a:gd name="connsiteY185" fmla="*/ 2235519 h 6858000"/>
              <a:gd name="connsiteX186" fmla="*/ 4054838 w 8009775"/>
              <a:gd name="connsiteY186" fmla="*/ 2229804 h 6858000"/>
              <a:gd name="connsiteX187" fmla="*/ 4054542 w 8009775"/>
              <a:gd name="connsiteY187" fmla="*/ 2223770 h 6858000"/>
              <a:gd name="connsiteX188" fmla="*/ 4053656 w 8009775"/>
              <a:gd name="connsiteY188" fmla="*/ 2217739 h 6858000"/>
              <a:gd name="connsiteX189" fmla="*/ 4052769 w 8009775"/>
              <a:gd name="connsiteY189" fmla="*/ 2212024 h 6858000"/>
              <a:gd name="connsiteX190" fmla="*/ 4051587 w 8009775"/>
              <a:gd name="connsiteY190" fmla="*/ 2206309 h 6858000"/>
              <a:gd name="connsiteX191" fmla="*/ 4050109 w 8009775"/>
              <a:gd name="connsiteY191" fmla="*/ 2200593 h 6858000"/>
              <a:gd name="connsiteX192" fmla="*/ 4048040 w 8009775"/>
              <a:gd name="connsiteY192" fmla="*/ 2194878 h 6858000"/>
              <a:gd name="connsiteX193" fmla="*/ 4046267 w 8009775"/>
              <a:gd name="connsiteY193" fmla="*/ 2189163 h 6858000"/>
              <a:gd name="connsiteX194" fmla="*/ 4043606 w 8009775"/>
              <a:gd name="connsiteY194" fmla="*/ 2183765 h 6858000"/>
              <a:gd name="connsiteX195" fmla="*/ 4040946 w 8009775"/>
              <a:gd name="connsiteY195" fmla="*/ 2178368 h 6858000"/>
              <a:gd name="connsiteX196" fmla="*/ 4037991 w 8009775"/>
              <a:gd name="connsiteY196" fmla="*/ 2172970 h 6858000"/>
              <a:gd name="connsiteX197" fmla="*/ 4034740 w 8009775"/>
              <a:gd name="connsiteY197" fmla="*/ 2167890 h 6858000"/>
              <a:gd name="connsiteX198" fmla="*/ 4031193 w 8009775"/>
              <a:gd name="connsiteY198" fmla="*/ 2162494 h 6858000"/>
              <a:gd name="connsiteX199" fmla="*/ 4027646 w 8009775"/>
              <a:gd name="connsiteY199" fmla="*/ 2157730 h 6858000"/>
              <a:gd name="connsiteX200" fmla="*/ 4023213 w 8009775"/>
              <a:gd name="connsiteY200" fmla="*/ 2153285 h 6858000"/>
              <a:gd name="connsiteX201" fmla="*/ 4018779 w 8009775"/>
              <a:gd name="connsiteY201" fmla="*/ 2148523 h 6858000"/>
              <a:gd name="connsiteX202" fmla="*/ 3632182 w 8009775"/>
              <a:gd name="connsiteY202" fmla="*/ 1761490 h 6858000"/>
              <a:gd name="connsiteX203" fmla="*/ 3435928 w 8009775"/>
              <a:gd name="connsiteY203" fmla="*/ 1565276 h 6858000"/>
              <a:gd name="connsiteX204" fmla="*/ 3431198 w 8009775"/>
              <a:gd name="connsiteY204" fmla="*/ 1560514 h 6858000"/>
              <a:gd name="connsiteX205" fmla="*/ 3427356 w 8009775"/>
              <a:gd name="connsiteY205" fmla="*/ 1555751 h 6858000"/>
              <a:gd name="connsiteX206" fmla="*/ 3423218 w 8009775"/>
              <a:gd name="connsiteY206" fmla="*/ 1550671 h 6858000"/>
              <a:gd name="connsiteX207" fmla="*/ 3420262 w 8009775"/>
              <a:gd name="connsiteY207" fmla="*/ 1545909 h 6858000"/>
              <a:gd name="connsiteX208" fmla="*/ 3417012 w 8009775"/>
              <a:gd name="connsiteY208" fmla="*/ 1540829 h 6858000"/>
              <a:gd name="connsiteX209" fmla="*/ 3413760 w 8009775"/>
              <a:gd name="connsiteY209" fmla="*/ 1535430 h 6858000"/>
              <a:gd name="connsiteX210" fmla="*/ 3411100 w 8009775"/>
              <a:gd name="connsiteY210" fmla="*/ 1530034 h 6858000"/>
              <a:gd name="connsiteX211" fmla="*/ 3408736 w 8009775"/>
              <a:gd name="connsiteY211" fmla="*/ 1524635 h 6858000"/>
              <a:gd name="connsiteX212" fmla="*/ 3406371 w 8009775"/>
              <a:gd name="connsiteY212" fmla="*/ 1518920 h 6858000"/>
              <a:gd name="connsiteX213" fmla="*/ 3404598 w 8009775"/>
              <a:gd name="connsiteY213" fmla="*/ 1513205 h 6858000"/>
              <a:gd name="connsiteX214" fmla="*/ 3403120 w 8009775"/>
              <a:gd name="connsiteY214" fmla="*/ 1507174 h 6858000"/>
              <a:gd name="connsiteX215" fmla="*/ 3401938 w 8009775"/>
              <a:gd name="connsiteY215" fmla="*/ 1501459 h 6858000"/>
              <a:gd name="connsiteX216" fmla="*/ 3401051 w 8009775"/>
              <a:gd name="connsiteY216" fmla="*/ 1495744 h 6858000"/>
              <a:gd name="connsiteX217" fmla="*/ 3400460 w 8009775"/>
              <a:gd name="connsiteY217" fmla="*/ 1489710 h 6858000"/>
              <a:gd name="connsiteX218" fmla="*/ 3399869 w 8009775"/>
              <a:gd name="connsiteY218" fmla="*/ 1483995 h 6858000"/>
              <a:gd name="connsiteX219" fmla="*/ 3399573 w 8009775"/>
              <a:gd name="connsiteY219" fmla="*/ 1478281 h 6858000"/>
              <a:gd name="connsiteX220" fmla="*/ 3399869 w 8009775"/>
              <a:gd name="connsiteY220" fmla="*/ 1472249 h 6858000"/>
              <a:gd name="connsiteX221" fmla="*/ 3400460 w 8009775"/>
              <a:gd name="connsiteY221" fmla="*/ 1466215 h 6858000"/>
              <a:gd name="connsiteX222" fmla="*/ 3401051 w 8009775"/>
              <a:gd name="connsiteY222" fmla="*/ 1460183 h 6858000"/>
              <a:gd name="connsiteX223" fmla="*/ 3401938 w 8009775"/>
              <a:gd name="connsiteY223" fmla="*/ 1454468 h 6858000"/>
              <a:gd name="connsiteX224" fmla="*/ 3403120 w 8009775"/>
              <a:gd name="connsiteY224" fmla="*/ 1448754 h 6858000"/>
              <a:gd name="connsiteX225" fmla="*/ 3404598 w 8009775"/>
              <a:gd name="connsiteY225" fmla="*/ 1443039 h 6858000"/>
              <a:gd name="connsiteX226" fmla="*/ 3406371 w 8009775"/>
              <a:gd name="connsiteY226" fmla="*/ 1437324 h 6858000"/>
              <a:gd name="connsiteX227" fmla="*/ 3408736 w 8009775"/>
              <a:gd name="connsiteY227" fmla="*/ 1431609 h 6858000"/>
              <a:gd name="connsiteX228" fmla="*/ 3411100 w 8009775"/>
              <a:gd name="connsiteY228" fmla="*/ 1426211 h 6858000"/>
              <a:gd name="connsiteX229" fmla="*/ 3413760 w 8009775"/>
              <a:gd name="connsiteY229" fmla="*/ 1420814 h 6858000"/>
              <a:gd name="connsiteX230" fmla="*/ 3417012 w 8009775"/>
              <a:gd name="connsiteY230" fmla="*/ 1415416 h 6858000"/>
              <a:gd name="connsiteX231" fmla="*/ 3420262 w 8009775"/>
              <a:gd name="connsiteY231" fmla="*/ 1410336 h 6858000"/>
              <a:gd name="connsiteX232" fmla="*/ 3423218 w 8009775"/>
              <a:gd name="connsiteY232" fmla="*/ 1405256 h 6858000"/>
              <a:gd name="connsiteX233" fmla="*/ 3427356 w 8009775"/>
              <a:gd name="connsiteY233" fmla="*/ 1400175 h 6858000"/>
              <a:gd name="connsiteX234" fmla="*/ 3431198 w 8009775"/>
              <a:gd name="connsiteY234" fmla="*/ 1395731 h 6858000"/>
              <a:gd name="connsiteX235" fmla="*/ 3435928 w 8009775"/>
              <a:gd name="connsiteY235" fmla="*/ 1390969 h 6858000"/>
              <a:gd name="connsiteX236" fmla="*/ 3440361 w 8009775"/>
              <a:gd name="connsiteY236" fmla="*/ 1386524 h 6858000"/>
              <a:gd name="connsiteX237" fmla="*/ 3445386 w 8009775"/>
              <a:gd name="connsiteY237" fmla="*/ 1382396 h 6858000"/>
              <a:gd name="connsiteX238" fmla="*/ 3449819 w 8009775"/>
              <a:gd name="connsiteY238" fmla="*/ 1378585 h 6858000"/>
              <a:gd name="connsiteX239" fmla="*/ 3454844 w 8009775"/>
              <a:gd name="connsiteY239" fmla="*/ 1375094 h 6858000"/>
              <a:gd name="connsiteX240" fmla="*/ 3460459 w 8009775"/>
              <a:gd name="connsiteY240" fmla="*/ 1371919 h 6858000"/>
              <a:gd name="connsiteX241" fmla="*/ 3465780 w 8009775"/>
              <a:gd name="connsiteY241" fmla="*/ 1369061 h 6858000"/>
              <a:gd name="connsiteX242" fmla="*/ 3471100 w 8009775"/>
              <a:gd name="connsiteY242" fmla="*/ 1366204 h 6858000"/>
              <a:gd name="connsiteX243" fmla="*/ 3476420 w 8009775"/>
              <a:gd name="connsiteY243" fmla="*/ 1363980 h 6858000"/>
              <a:gd name="connsiteX244" fmla="*/ 3482331 w 8009775"/>
              <a:gd name="connsiteY244" fmla="*/ 1361759 h 6858000"/>
              <a:gd name="connsiteX245" fmla="*/ 3487947 w 8009775"/>
              <a:gd name="connsiteY245" fmla="*/ 1360170 h 6858000"/>
              <a:gd name="connsiteX246" fmla="*/ 3493858 w 8009775"/>
              <a:gd name="connsiteY246" fmla="*/ 1358265 h 6858000"/>
              <a:gd name="connsiteX247" fmla="*/ 3499474 w 8009775"/>
              <a:gd name="connsiteY247" fmla="*/ 1357314 h 6858000"/>
              <a:gd name="connsiteX248" fmla="*/ 3505385 w 8009775"/>
              <a:gd name="connsiteY248" fmla="*/ 1356043 h 6858000"/>
              <a:gd name="connsiteX249" fmla="*/ 3511001 w 8009775"/>
              <a:gd name="connsiteY249" fmla="*/ 1355409 h 6858000"/>
              <a:gd name="connsiteX250" fmla="*/ 3517208 w 8009775"/>
              <a:gd name="connsiteY250" fmla="*/ 1355090 h 6858000"/>
              <a:gd name="connsiteX251" fmla="*/ 3522823 w 8009775"/>
              <a:gd name="connsiteY251" fmla="*/ 1354773 h 6858000"/>
              <a:gd name="connsiteX252" fmla="*/ 3529030 w 8009775"/>
              <a:gd name="connsiteY252" fmla="*/ 1355090 h 6858000"/>
              <a:gd name="connsiteX253" fmla="*/ 3534646 w 8009775"/>
              <a:gd name="connsiteY253" fmla="*/ 1355409 h 6858000"/>
              <a:gd name="connsiteX254" fmla="*/ 3540557 w 8009775"/>
              <a:gd name="connsiteY254" fmla="*/ 1356043 h 6858000"/>
              <a:gd name="connsiteX255" fmla="*/ 3546468 w 8009775"/>
              <a:gd name="connsiteY255" fmla="*/ 1357314 h 6858000"/>
              <a:gd name="connsiteX256" fmla="*/ 3552380 w 8009775"/>
              <a:gd name="connsiteY256" fmla="*/ 1358265 h 6858000"/>
              <a:gd name="connsiteX257" fmla="*/ 3557995 w 8009775"/>
              <a:gd name="connsiteY257" fmla="*/ 1360170 h 6858000"/>
              <a:gd name="connsiteX258" fmla="*/ 3563906 w 8009775"/>
              <a:gd name="connsiteY258" fmla="*/ 1361759 h 6858000"/>
              <a:gd name="connsiteX259" fmla="*/ 3569227 w 8009775"/>
              <a:gd name="connsiteY259" fmla="*/ 1363980 h 6858000"/>
              <a:gd name="connsiteX260" fmla="*/ 3574842 w 8009775"/>
              <a:gd name="connsiteY260" fmla="*/ 1366204 h 6858000"/>
              <a:gd name="connsiteX261" fmla="*/ 3580458 w 8009775"/>
              <a:gd name="connsiteY261" fmla="*/ 1369061 h 6858000"/>
              <a:gd name="connsiteX262" fmla="*/ 3585778 w 8009775"/>
              <a:gd name="connsiteY262" fmla="*/ 1371919 h 6858000"/>
              <a:gd name="connsiteX263" fmla="*/ 3590803 w 8009775"/>
              <a:gd name="connsiteY263" fmla="*/ 1375094 h 6858000"/>
              <a:gd name="connsiteX264" fmla="*/ 3595828 w 8009775"/>
              <a:gd name="connsiteY264" fmla="*/ 1378585 h 6858000"/>
              <a:gd name="connsiteX265" fmla="*/ 3600852 w 8009775"/>
              <a:gd name="connsiteY265" fmla="*/ 1382396 h 6858000"/>
              <a:gd name="connsiteX266" fmla="*/ 3605581 w 8009775"/>
              <a:gd name="connsiteY266" fmla="*/ 1386524 h 6858000"/>
              <a:gd name="connsiteX267" fmla="*/ 3610014 w 8009775"/>
              <a:gd name="connsiteY267" fmla="*/ 1390969 h 6858000"/>
              <a:gd name="connsiteX268" fmla="*/ 3817500 w 8009775"/>
              <a:gd name="connsiteY268" fmla="*/ 1598296 h 6858000"/>
              <a:gd name="connsiteX269" fmla="*/ 3821934 w 8009775"/>
              <a:gd name="connsiteY269" fmla="*/ 1602423 h 6858000"/>
              <a:gd name="connsiteX270" fmla="*/ 3826663 w 8009775"/>
              <a:gd name="connsiteY270" fmla="*/ 1606869 h 6858000"/>
              <a:gd name="connsiteX271" fmla="*/ 3831687 w 8009775"/>
              <a:gd name="connsiteY271" fmla="*/ 1610361 h 6858000"/>
              <a:gd name="connsiteX272" fmla="*/ 3836712 w 8009775"/>
              <a:gd name="connsiteY272" fmla="*/ 1613854 h 6858000"/>
              <a:gd name="connsiteX273" fmla="*/ 3841736 w 8009775"/>
              <a:gd name="connsiteY273" fmla="*/ 1617345 h 6858000"/>
              <a:gd name="connsiteX274" fmla="*/ 3847352 w 8009775"/>
              <a:gd name="connsiteY274" fmla="*/ 1620204 h 6858000"/>
              <a:gd name="connsiteX275" fmla="*/ 3852672 w 8009775"/>
              <a:gd name="connsiteY275" fmla="*/ 1623061 h 6858000"/>
              <a:gd name="connsiteX276" fmla="*/ 3857992 w 8009775"/>
              <a:gd name="connsiteY276" fmla="*/ 1625283 h 6858000"/>
              <a:gd name="connsiteX277" fmla="*/ 3863608 w 8009775"/>
              <a:gd name="connsiteY277" fmla="*/ 1627189 h 6858000"/>
              <a:gd name="connsiteX278" fmla="*/ 3869519 w 8009775"/>
              <a:gd name="connsiteY278" fmla="*/ 1629094 h 6858000"/>
              <a:gd name="connsiteX279" fmla="*/ 3875135 w 8009775"/>
              <a:gd name="connsiteY279" fmla="*/ 1630998 h 6858000"/>
              <a:gd name="connsiteX280" fmla="*/ 3881046 w 8009775"/>
              <a:gd name="connsiteY280" fmla="*/ 1631950 h 6858000"/>
              <a:gd name="connsiteX281" fmla="*/ 3886662 w 8009775"/>
              <a:gd name="connsiteY281" fmla="*/ 1632904 h 6858000"/>
              <a:gd name="connsiteX282" fmla="*/ 3892869 w 8009775"/>
              <a:gd name="connsiteY282" fmla="*/ 1633856 h 6858000"/>
              <a:gd name="connsiteX283" fmla="*/ 3898485 w 8009775"/>
              <a:gd name="connsiteY283" fmla="*/ 1634174 h 6858000"/>
              <a:gd name="connsiteX284" fmla="*/ 3904396 w 8009775"/>
              <a:gd name="connsiteY284" fmla="*/ 1634174 h 6858000"/>
              <a:gd name="connsiteX285" fmla="*/ 3910307 w 8009775"/>
              <a:gd name="connsiteY285" fmla="*/ 1634174 h 6858000"/>
              <a:gd name="connsiteX286" fmla="*/ 3916219 w 8009775"/>
              <a:gd name="connsiteY286" fmla="*/ 1633856 h 6858000"/>
              <a:gd name="connsiteX287" fmla="*/ 3922425 w 8009775"/>
              <a:gd name="connsiteY287" fmla="*/ 1632904 h 6858000"/>
              <a:gd name="connsiteX288" fmla="*/ 3928041 w 8009775"/>
              <a:gd name="connsiteY288" fmla="*/ 1631950 h 6858000"/>
              <a:gd name="connsiteX289" fmla="*/ 3933657 w 8009775"/>
              <a:gd name="connsiteY289" fmla="*/ 1630998 h 6858000"/>
              <a:gd name="connsiteX290" fmla="*/ 3939568 w 8009775"/>
              <a:gd name="connsiteY290" fmla="*/ 1629094 h 6858000"/>
              <a:gd name="connsiteX291" fmla="*/ 3945184 w 8009775"/>
              <a:gd name="connsiteY291" fmla="*/ 1627189 h 6858000"/>
              <a:gd name="connsiteX292" fmla="*/ 3950799 w 8009775"/>
              <a:gd name="connsiteY292" fmla="*/ 1625283 h 6858000"/>
              <a:gd name="connsiteX293" fmla="*/ 3956415 w 8009775"/>
              <a:gd name="connsiteY293" fmla="*/ 1623061 h 6858000"/>
              <a:gd name="connsiteX294" fmla="*/ 3961735 w 8009775"/>
              <a:gd name="connsiteY294" fmla="*/ 1620204 h 6858000"/>
              <a:gd name="connsiteX295" fmla="*/ 3967055 w 8009775"/>
              <a:gd name="connsiteY295" fmla="*/ 1617345 h 6858000"/>
              <a:gd name="connsiteX296" fmla="*/ 3972376 w 8009775"/>
              <a:gd name="connsiteY296" fmla="*/ 1613854 h 6858000"/>
              <a:gd name="connsiteX297" fmla="*/ 3977400 w 8009775"/>
              <a:gd name="connsiteY297" fmla="*/ 1610361 h 6858000"/>
              <a:gd name="connsiteX298" fmla="*/ 3982425 w 8009775"/>
              <a:gd name="connsiteY298" fmla="*/ 1606869 h 6858000"/>
              <a:gd name="connsiteX299" fmla="*/ 3986858 w 8009775"/>
              <a:gd name="connsiteY299" fmla="*/ 1602423 h 6858000"/>
              <a:gd name="connsiteX300" fmla="*/ 3991587 w 8009775"/>
              <a:gd name="connsiteY300" fmla="*/ 1598296 h 6858000"/>
              <a:gd name="connsiteX301" fmla="*/ 3996021 w 8009775"/>
              <a:gd name="connsiteY301" fmla="*/ 1593533 h 6858000"/>
              <a:gd name="connsiteX302" fmla="*/ 4000159 w 8009775"/>
              <a:gd name="connsiteY302" fmla="*/ 1588771 h 6858000"/>
              <a:gd name="connsiteX303" fmla="*/ 4003705 w 8009775"/>
              <a:gd name="connsiteY303" fmla="*/ 1583691 h 6858000"/>
              <a:gd name="connsiteX304" fmla="*/ 4007548 w 8009775"/>
              <a:gd name="connsiteY304" fmla="*/ 1578928 h 6858000"/>
              <a:gd name="connsiteX305" fmla="*/ 4010799 w 8009775"/>
              <a:gd name="connsiteY305" fmla="*/ 1573849 h 6858000"/>
              <a:gd name="connsiteX306" fmla="*/ 4013459 w 8009775"/>
              <a:gd name="connsiteY306" fmla="*/ 1568451 h 6858000"/>
              <a:gd name="connsiteX307" fmla="*/ 4016415 w 8009775"/>
              <a:gd name="connsiteY307" fmla="*/ 1563054 h 6858000"/>
              <a:gd name="connsiteX308" fmla="*/ 4018484 w 8009775"/>
              <a:gd name="connsiteY308" fmla="*/ 1557339 h 6858000"/>
              <a:gd name="connsiteX309" fmla="*/ 4020848 w 8009775"/>
              <a:gd name="connsiteY309" fmla="*/ 1551941 h 6858000"/>
              <a:gd name="connsiteX310" fmla="*/ 4022621 w 8009775"/>
              <a:gd name="connsiteY310" fmla="*/ 1546226 h 6858000"/>
              <a:gd name="connsiteX311" fmla="*/ 4024395 w 8009775"/>
              <a:gd name="connsiteY311" fmla="*/ 1540511 h 6858000"/>
              <a:gd name="connsiteX312" fmla="*/ 4025282 w 8009775"/>
              <a:gd name="connsiteY312" fmla="*/ 1534478 h 6858000"/>
              <a:gd name="connsiteX313" fmla="*/ 4026464 w 8009775"/>
              <a:gd name="connsiteY313" fmla="*/ 1528763 h 6858000"/>
              <a:gd name="connsiteX314" fmla="*/ 4027055 w 8009775"/>
              <a:gd name="connsiteY314" fmla="*/ 1522731 h 6858000"/>
              <a:gd name="connsiteX315" fmla="*/ 4027646 w 8009775"/>
              <a:gd name="connsiteY315" fmla="*/ 1517016 h 6858000"/>
              <a:gd name="connsiteX316" fmla="*/ 4027646 w 8009775"/>
              <a:gd name="connsiteY316" fmla="*/ 1510984 h 6858000"/>
              <a:gd name="connsiteX317" fmla="*/ 4027646 w 8009775"/>
              <a:gd name="connsiteY317" fmla="*/ 1505268 h 6858000"/>
              <a:gd name="connsiteX318" fmla="*/ 4027055 w 8009775"/>
              <a:gd name="connsiteY318" fmla="*/ 1499553 h 6858000"/>
              <a:gd name="connsiteX319" fmla="*/ 4026464 w 8009775"/>
              <a:gd name="connsiteY319" fmla="*/ 1493204 h 6858000"/>
              <a:gd name="connsiteX320" fmla="*/ 4025282 w 8009775"/>
              <a:gd name="connsiteY320" fmla="*/ 1487489 h 6858000"/>
              <a:gd name="connsiteX321" fmla="*/ 4024395 w 8009775"/>
              <a:gd name="connsiteY321" fmla="*/ 1481773 h 6858000"/>
              <a:gd name="connsiteX322" fmla="*/ 4022621 w 8009775"/>
              <a:gd name="connsiteY322" fmla="*/ 1476058 h 6858000"/>
              <a:gd name="connsiteX323" fmla="*/ 4020848 w 8009775"/>
              <a:gd name="connsiteY323" fmla="*/ 1470343 h 6858000"/>
              <a:gd name="connsiteX324" fmla="*/ 4018484 w 8009775"/>
              <a:gd name="connsiteY324" fmla="*/ 1464629 h 6858000"/>
              <a:gd name="connsiteX325" fmla="*/ 4016415 w 8009775"/>
              <a:gd name="connsiteY325" fmla="*/ 1459231 h 6858000"/>
              <a:gd name="connsiteX326" fmla="*/ 4013459 w 8009775"/>
              <a:gd name="connsiteY326" fmla="*/ 1453834 h 6858000"/>
              <a:gd name="connsiteX327" fmla="*/ 4010799 w 8009775"/>
              <a:gd name="connsiteY327" fmla="*/ 1448436 h 6858000"/>
              <a:gd name="connsiteX328" fmla="*/ 4007548 w 8009775"/>
              <a:gd name="connsiteY328" fmla="*/ 1443356 h 6858000"/>
              <a:gd name="connsiteX329" fmla="*/ 4003705 w 8009775"/>
              <a:gd name="connsiteY329" fmla="*/ 1438275 h 6858000"/>
              <a:gd name="connsiteX330" fmla="*/ 4000159 w 8009775"/>
              <a:gd name="connsiteY330" fmla="*/ 1433195 h 6858000"/>
              <a:gd name="connsiteX331" fmla="*/ 3996021 w 8009775"/>
              <a:gd name="connsiteY331" fmla="*/ 1428751 h 6858000"/>
              <a:gd name="connsiteX332" fmla="*/ 3991587 w 8009775"/>
              <a:gd name="connsiteY332" fmla="*/ 1423988 h 6858000"/>
              <a:gd name="connsiteX333" fmla="*/ 3323022 w 8009775"/>
              <a:gd name="connsiteY333" fmla="*/ 755333 h 6858000"/>
              <a:gd name="connsiteX334" fmla="*/ 3316815 w 8009775"/>
              <a:gd name="connsiteY334" fmla="*/ 748348 h 6858000"/>
              <a:gd name="connsiteX335" fmla="*/ 3310904 w 8009775"/>
              <a:gd name="connsiteY335" fmla="*/ 741045 h 6858000"/>
              <a:gd name="connsiteX336" fmla="*/ 3305584 w 8009775"/>
              <a:gd name="connsiteY336" fmla="*/ 733108 h 6858000"/>
              <a:gd name="connsiteX337" fmla="*/ 3300855 w 8009775"/>
              <a:gd name="connsiteY337" fmla="*/ 725170 h 6858000"/>
              <a:gd name="connsiteX338" fmla="*/ 3297308 w 8009775"/>
              <a:gd name="connsiteY338" fmla="*/ 716915 h 6858000"/>
              <a:gd name="connsiteX339" fmla="*/ 3293761 w 8009775"/>
              <a:gd name="connsiteY339" fmla="*/ 708660 h 6858000"/>
              <a:gd name="connsiteX340" fmla="*/ 3291101 w 8009775"/>
              <a:gd name="connsiteY340" fmla="*/ 699770 h 6858000"/>
              <a:gd name="connsiteX341" fmla="*/ 3289328 w 8009775"/>
              <a:gd name="connsiteY341" fmla="*/ 691198 h 6858000"/>
              <a:gd name="connsiteX342" fmla="*/ 2596527 w 8009775"/>
              <a:gd name="connsiteY342" fmla="*/ 0 h 6858000"/>
              <a:gd name="connsiteX0" fmla="*/ 2596527 w 8009775"/>
              <a:gd name="connsiteY0" fmla="*/ 0 h 6858000"/>
              <a:gd name="connsiteX1" fmla="*/ 2165004 w 8009775"/>
              <a:gd name="connsiteY1" fmla="*/ 0 h 6858000"/>
              <a:gd name="connsiteX2" fmla="*/ 3265978 w 8009775"/>
              <a:gd name="connsiteY2" fmla="*/ 1101091 h 6858000"/>
              <a:gd name="connsiteX3" fmla="*/ 3270708 w 8009775"/>
              <a:gd name="connsiteY3" fmla="*/ 1105854 h 6858000"/>
              <a:gd name="connsiteX4" fmla="*/ 3274550 w 8009775"/>
              <a:gd name="connsiteY4" fmla="*/ 1110615 h 6858000"/>
              <a:gd name="connsiteX5" fmla="*/ 3278688 w 8009775"/>
              <a:gd name="connsiteY5" fmla="*/ 1115696 h 6858000"/>
              <a:gd name="connsiteX6" fmla="*/ 3282234 w 8009775"/>
              <a:gd name="connsiteY6" fmla="*/ 1120776 h 6858000"/>
              <a:gd name="connsiteX7" fmla="*/ 3285486 w 8009775"/>
              <a:gd name="connsiteY7" fmla="*/ 1126174 h 6858000"/>
              <a:gd name="connsiteX8" fmla="*/ 3288146 w 8009775"/>
              <a:gd name="connsiteY8" fmla="*/ 1131570 h 6858000"/>
              <a:gd name="connsiteX9" fmla="*/ 3291101 w 8009775"/>
              <a:gd name="connsiteY9" fmla="*/ 1136968 h 6858000"/>
              <a:gd name="connsiteX10" fmla="*/ 3293761 w 8009775"/>
              <a:gd name="connsiteY10" fmla="*/ 1142366 h 6858000"/>
              <a:gd name="connsiteX11" fmla="*/ 3295830 w 8009775"/>
              <a:gd name="connsiteY11" fmla="*/ 1148081 h 6858000"/>
              <a:gd name="connsiteX12" fmla="*/ 3297604 w 8009775"/>
              <a:gd name="connsiteY12" fmla="*/ 1153796 h 6858000"/>
              <a:gd name="connsiteX13" fmla="*/ 3299082 w 8009775"/>
              <a:gd name="connsiteY13" fmla="*/ 1159829 h 6858000"/>
              <a:gd name="connsiteX14" fmla="*/ 3300559 w 8009775"/>
              <a:gd name="connsiteY14" fmla="*/ 1165544 h 6858000"/>
              <a:gd name="connsiteX15" fmla="*/ 3301446 w 8009775"/>
              <a:gd name="connsiteY15" fmla="*/ 1171893 h 6858000"/>
              <a:gd name="connsiteX16" fmla="*/ 3302333 w 8009775"/>
              <a:gd name="connsiteY16" fmla="*/ 1177608 h 6858000"/>
              <a:gd name="connsiteX17" fmla="*/ 3302628 w 8009775"/>
              <a:gd name="connsiteY17" fmla="*/ 1183641 h 6858000"/>
              <a:gd name="connsiteX18" fmla="*/ 3302628 w 8009775"/>
              <a:gd name="connsiteY18" fmla="*/ 1189356 h 6858000"/>
              <a:gd name="connsiteX19" fmla="*/ 3302628 w 8009775"/>
              <a:gd name="connsiteY19" fmla="*/ 1195388 h 6858000"/>
              <a:gd name="connsiteX20" fmla="*/ 3302333 w 8009775"/>
              <a:gd name="connsiteY20" fmla="*/ 1201739 h 6858000"/>
              <a:gd name="connsiteX21" fmla="*/ 3301446 w 8009775"/>
              <a:gd name="connsiteY21" fmla="*/ 1207454 h 6858000"/>
              <a:gd name="connsiteX22" fmla="*/ 3300559 w 8009775"/>
              <a:gd name="connsiteY22" fmla="*/ 1213486 h 6858000"/>
              <a:gd name="connsiteX23" fmla="*/ 3299082 w 8009775"/>
              <a:gd name="connsiteY23" fmla="*/ 1219200 h 6858000"/>
              <a:gd name="connsiteX24" fmla="*/ 3297604 w 8009775"/>
              <a:gd name="connsiteY24" fmla="*/ 1225233 h 6858000"/>
              <a:gd name="connsiteX25" fmla="*/ 3295830 w 8009775"/>
              <a:gd name="connsiteY25" fmla="*/ 1230949 h 6858000"/>
              <a:gd name="connsiteX26" fmla="*/ 3293761 w 8009775"/>
              <a:gd name="connsiteY26" fmla="*/ 1236346 h 6858000"/>
              <a:gd name="connsiteX27" fmla="*/ 3291101 w 8009775"/>
              <a:gd name="connsiteY27" fmla="*/ 1242061 h 6858000"/>
              <a:gd name="connsiteX28" fmla="*/ 3288146 w 8009775"/>
              <a:gd name="connsiteY28" fmla="*/ 1247459 h 6858000"/>
              <a:gd name="connsiteX29" fmla="*/ 3285486 w 8009775"/>
              <a:gd name="connsiteY29" fmla="*/ 1252855 h 6858000"/>
              <a:gd name="connsiteX30" fmla="*/ 3282234 w 8009775"/>
              <a:gd name="connsiteY30" fmla="*/ 1258254 h 6858000"/>
              <a:gd name="connsiteX31" fmla="*/ 3278688 w 8009775"/>
              <a:gd name="connsiteY31" fmla="*/ 1263333 h 6858000"/>
              <a:gd name="connsiteX32" fmla="*/ 3274550 w 8009775"/>
              <a:gd name="connsiteY32" fmla="*/ 1268413 h 6858000"/>
              <a:gd name="connsiteX33" fmla="*/ 3270708 w 8009775"/>
              <a:gd name="connsiteY33" fmla="*/ 1273494 h 6858000"/>
              <a:gd name="connsiteX34" fmla="*/ 3265978 w 8009775"/>
              <a:gd name="connsiteY34" fmla="*/ 1278255 h 6858000"/>
              <a:gd name="connsiteX35" fmla="*/ 3261249 w 8009775"/>
              <a:gd name="connsiteY35" fmla="*/ 1282384 h 6858000"/>
              <a:gd name="connsiteX36" fmla="*/ 3256816 w 8009775"/>
              <a:gd name="connsiteY36" fmla="*/ 1286510 h 6858000"/>
              <a:gd name="connsiteX37" fmla="*/ 3251791 w 8009775"/>
              <a:gd name="connsiteY37" fmla="*/ 1290321 h 6858000"/>
              <a:gd name="connsiteX38" fmla="*/ 3246767 w 8009775"/>
              <a:gd name="connsiteY38" fmla="*/ 1293814 h 6858000"/>
              <a:gd name="connsiteX39" fmla="*/ 3241151 w 8009775"/>
              <a:gd name="connsiteY39" fmla="*/ 1297306 h 6858000"/>
              <a:gd name="connsiteX40" fmla="*/ 3235831 w 8009775"/>
              <a:gd name="connsiteY40" fmla="*/ 1300481 h 6858000"/>
              <a:gd name="connsiteX41" fmla="*/ 3230511 w 8009775"/>
              <a:gd name="connsiteY41" fmla="*/ 1303021 h 6858000"/>
              <a:gd name="connsiteX42" fmla="*/ 3224600 w 8009775"/>
              <a:gd name="connsiteY42" fmla="*/ 1305560 h 6858000"/>
              <a:gd name="connsiteX43" fmla="*/ 3218984 w 8009775"/>
              <a:gd name="connsiteY43" fmla="*/ 1307465 h 6858000"/>
              <a:gd name="connsiteX44" fmla="*/ 3213072 w 8009775"/>
              <a:gd name="connsiteY44" fmla="*/ 1309371 h 6858000"/>
              <a:gd name="connsiteX45" fmla="*/ 3207457 w 8009775"/>
              <a:gd name="connsiteY45" fmla="*/ 1311275 h 6858000"/>
              <a:gd name="connsiteX46" fmla="*/ 3201841 w 8009775"/>
              <a:gd name="connsiteY46" fmla="*/ 1312228 h 6858000"/>
              <a:gd name="connsiteX47" fmla="*/ 3195634 w 8009775"/>
              <a:gd name="connsiteY47" fmla="*/ 1313180 h 6858000"/>
              <a:gd name="connsiteX48" fmla="*/ 3189428 w 8009775"/>
              <a:gd name="connsiteY48" fmla="*/ 1314133 h 6858000"/>
              <a:gd name="connsiteX49" fmla="*/ 3183812 w 8009775"/>
              <a:gd name="connsiteY49" fmla="*/ 1314450 h 6858000"/>
              <a:gd name="connsiteX50" fmla="*/ 3177605 w 8009775"/>
              <a:gd name="connsiteY50" fmla="*/ 1314769 h 6858000"/>
              <a:gd name="connsiteX51" fmla="*/ 3171694 w 8009775"/>
              <a:gd name="connsiteY51" fmla="*/ 1314450 h 6858000"/>
              <a:gd name="connsiteX52" fmla="*/ 3165782 w 8009775"/>
              <a:gd name="connsiteY52" fmla="*/ 1314133 h 6858000"/>
              <a:gd name="connsiteX53" fmla="*/ 3159576 w 8009775"/>
              <a:gd name="connsiteY53" fmla="*/ 1313180 h 6858000"/>
              <a:gd name="connsiteX54" fmla="*/ 3153960 w 8009775"/>
              <a:gd name="connsiteY54" fmla="*/ 1312228 h 6858000"/>
              <a:gd name="connsiteX55" fmla="*/ 3147753 w 8009775"/>
              <a:gd name="connsiteY55" fmla="*/ 1311275 h 6858000"/>
              <a:gd name="connsiteX56" fmla="*/ 3142137 w 8009775"/>
              <a:gd name="connsiteY56" fmla="*/ 1309371 h 6858000"/>
              <a:gd name="connsiteX57" fmla="*/ 3136226 w 8009775"/>
              <a:gd name="connsiteY57" fmla="*/ 1307465 h 6858000"/>
              <a:gd name="connsiteX58" fmla="*/ 3130610 w 8009775"/>
              <a:gd name="connsiteY58" fmla="*/ 1305560 h 6858000"/>
              <a:gd name="connsiteX59" fmla="*/ 3124994 w 8009775"/>
              <a:gd name="connsiteY59" fmla="*/ 1303021 h 6858000"/>
              <a:gd name="connsiteX60" fmla="*/ 3119379 w 8009775"/>
              <a:gd name="connsiteY60" fmla="*/ 1300481 h 6858000"/>
              <a:gd name="connsiteX61" fmla="*/ 3114059 w 8009775"/>
              <a:gd name="connsiteY61" fmla="*/ 1297306 h 6858000"/>
              <a:gd name="connsiteX62" fmla="*/ 3109034 w 8009775"/>
              <a:gd name="connsiteY62" fmla="*/ 1293814 h 6858000"/>
              <a:gd name="connsiteX63" fmla="*/ 3103714 w 8009775"/>
              <a:gd name="connsiteY63" fmla="*/ 1290321 h 6858000"/>
              <a:gd name="connsiteX64" fmla="*/ 3098689 w 8009775"/>
              <a:gd name="connsiteY64" fmla="*/ 1286510 h 6858000"/>
              <a:gd name="connsiteX65" fmla="*/ 3093960 w 8009775"/>
              <a:gd name="connsiteY65" fmla="*/ 1282384 h 6858000"/>
              <a:gd name="connsiteX66" fmla="*/ 3089231 w 8009775"/>
              <a:gd name="connsiteY66" fmla="*/ 1278255 h 6858000"/>
              <a:gd name="connsiteX67" fmla="*/ 1811214 w 8009775"/>
              <a:gd name="connsiteY67" fmla="*/ 0 h 6858000"/>
              <a:gd name="connsiteX68" fmla="*/ 0 w 8009775"/>
              <a:gd name="connsiteY68" fmla="*/ 0 h 6858000"/>
              <a:gd name="connsiteX69" fmla="*/ 0 w 8009775"/>
              <a:gd name="connsiteY69" fmla="*/ 6858000 h 6858000"/>
              <a:gd name="connsiteX70" fmla="*/ 8009775 w 8009775"/>
              <a:gd name="connsiteY70" fmla="*/ 6858000 h 6858000"/>
              <a:gd name="connsiteX71" fmla="*/ 3001744 w 8009775"/>
              <a:gd name="connsiteY71" fmla="*/ 1828166 h 6858000"/>
              <a:gd name="connsiteX72" fmla="*/ 2997311 w 8009775"/>
              <a:gd name="connsiteY72" fmla="*/ 1823404 h 6858000"/>
              <a:gd name="connsiteX73" fmla="*/ 2992878 w 8009775"/>
              <a:gd name="connsiteY73" fmla="*/ 1818640 h 6858000"/>
              <a:gd name="connsiteX74" fmla="*/ 2989331 w 8009775"/>
              <a:gd name="connsiteY74" fmla="*/ 1814195 h 6858000"/>
              <a:gd name="connsiteX75" fmla="*/ 2985784 w 8009775"/>
              <a:gd name="connsiteY75" fmla="*/ 1808799 h 6858000"/>
              <a:gd name="connsiteX76" fmla="*/ 2982533 w 8009775"/>
              <a:gd name="connsiteY76" fmla="*/ 1803718 h 6858000"/>
              <a:gd name="connsiteX77" fmla="*/ 2979873 w 8009775"/>
              <a:gd name="connsiteY77" fmla="*/ 1798321 h 6858000"/>
              <a:gd name="connsiteX78" fmla="*/ 2976917 w 8009775"/>
              <a:gd name="connsiteY78" fmla="*/ 1792924 h 6858000"/>
              <a:gd name="connsiteX79" fmla="*/ 2974552 w 8009775"/>
              <a:gd name="connsiteY79" fmla="*/ 1787526 h 6858000"/>
              <a:gd name="connsiteX80" fmla="*/ 2972484 w 8009775"/>
              <a:gd name="connsiteY80" fmla="*/ 1781811 h 6858000"/>
              <a:gd name="connsiteX81" fmla="*/ 2970710 w 8009775"/>
              <a:gd name="connsiteY81" fmla="*/ 1776095 h 6858000"/>
              <a:gd name="connsiteX82" fmla="*/ 2968937 w 8009775"/>
              <a:gd name="connsiteY82" fmla="*/ 1770380 h 6858000"/>
              <a:gd name="connsiteX83" fmla="*/ 2967755 w 8009775"/>
              <a:gd name="connsiteY83" fmla="*/ 1764665 h 6858000"/>
              <a:gd name="connsiteX84" fmla="*/ 2966868 w 8009775"/>
              <a:gd name="connsiteY84" fmla="*/ 1758634 h 6858000"/>
              <a:gd name="connsiteX85" fmla="*/ 2965981 w 8009775"/>
              <a:gd name="connsiteY85" fmla="*/ 1752919 h 6858000"/>
              <a:gd name="connsiteX86" fmla="*/ 2965686 w 8009775"/>
              <a:gd name="connsiteY86" fmla="*/ 1746885 h 6858000"/>
              <a:gd name="connsiteX87" fmla="*/ 2965686 w 8009775"/>
              <a:gd name="connsiteY87" fmla="*/ 1741170 h 6858000"/>
              <a:gd name="connsiteX88" fmla="*/ 2965686 w 8009775"/>
              <a:gd name="connsiteY88" fmla="*/ 1735139 h 6858000"/>
              <a:gd name="connsiteX89" fmla="*/ 2965981 w 8009775"/>
              <a:gd name="connsiteY89" fmla="*/ 1729424 h 6858000"/>
              <a:gd name="connsiteX90" fmla="*/ 2966868 w 8009775"/>
              <a:gd name="connsiteY90" fmla="*/ 1723074 h 6858000"/>
              <a:gd name="connsiteX91" fmla="*/ 2967755 w 8009775"/>
              <a:gd name="connsiteY91" fmla="*/ 1717358 h 6858000"/>
              <a:gd name="connsiteX92" fmla="*/ 2968937 w 8009775"/>
              <a:gd name="connsiteY92" fmla="*/ 1711643 h 6858000"/>
              <a:gd name="connsiteX93" fmla="*/ 2970710 w 8009775"/>
              <a:gd name="connsiteY93" fmla="*/ 1705929 h 6858000"/>
              <a:gd name="connsiteX94" fmla="*/ 2972484 w 8009775"/>
              <a:gd name="connsiteY94" fmla="*/ 1700214 h 6858000"/>
              <a:gd name="connsiteX95" fmla="*/ 2974552 w 8009775"/>
              <a:gd name="connsiteY95" fmla="*/ 1694816 h 6858000"/>
              <a:gd name="connsiteX96" fmla="*/ 2976917 w 8009775"/>
              <a:gd name="connsiteY96" fmla="*/ 1689101 h 6858000"/>
              <a:gd name="connsiteX97" fmla="*/ 2979873 w 8009775"/>
              <a:gd name="connsiteY97" fmla="*/ 1683703 h 6858000"/>
              <a:gd name="connsiteX98" fmla="*/ 2982533 w 8009775"/>
              <a:gd name="connsiteY98" fmla="*/ 1678305 h 6858000"/>
              <a:gd name="connsiteX99" fmla="*/ 2985784 w 8009775"/>
              <a:gd name="connsiteY99" fmla="*/ 1673226 h 6858000"/>
              <a:gd name="connsiteX100" fmla="*/ 2989331 w 8009775"/>
              <a:gd name="connsiteY100" fmla="*/ 1668145 h 6858000"/>
              <a:gd name="connsiteX101" fmla="*/ 2992878 w 8009775"/>
              <a:gd name="connsiteY101" fmla="*/ 1663066 h 6858000"/>
              <a:gd name="connsiteX102" fmla="*/ 2997311 w 8009775"/>
              <a:gd name="connsiteY102" fmla="*/ 1658621 h 6858000"/>
              <a:gd name="connsiteX103" fmla="*/ 3001744 w 8009775"/>
              <a:gd name="connsiteY103" fmla="*/ 1653859 h 6858000"/>
              <a:gd name="connsiteX104" fmla="*/ 3006178 w 8009775"/>
              <a:gd name="connsiteY104" fmla="*/ 1649414 h 6858000"/>
              <a:gd name="connsiteX105" fmla="*/ 3010907 w 8009775"/>
              <a:gd name="connsiteY105" fmla="*/ 1645603 h 6858000"/>
              <a:gd name="connsiteX106" fmla="*/ 3015932 w 8009775"/>
              <a:gd name="connsiteY106" fmla="*/ 1641794 h 6858000"/>
              <a:gd name="connsiteX107" fmla="*/ 3020956 w 8009775"/>
              <a:gd name="connsiteY107" fmla="*/ 1637984 h 6858000"/>
              <a:gd name="connsiteX108" fmla="*/ 3025981 w 8009775"/>
              <a:gd name="connsiteY108" fmla="*/ 1634809 h 6858000"/>
              <a:gd name="connsiteX109" fmla="*/ 3031596 w 8009775"/>
              <a:gd name="connsiteY109" fmla="*/ 1631950 h 6858000"/>
              <a:gd name="connsiteX110" fmla="*/ 3036916 w 8009775"/>
              <a:gd name="connsiteY110" fmla="*/ 1629094 h 6858000"/>
              <a:gd name="connsiteX111" fmla="*/ 3042532 w 8009775"/>
              <a:gd name="connsiteY111" fmla="*/ 1626871 h 6858000"/>
              <a:gd name="connsiteX112" fmla="*/ 3047852 w 8009775"/>
              <a:gd name="connsiteY112" fmla="*/ 1624649 h 6858000"/>
              <a:gd name="connsiteX113" fmla="*/ 3053764 w 8009775"/>
              <a:gd name="connsiteY113" fmla="*/ 1623061 h 6858000"/>
              <a:gd name="connsiteX114" fmla="*/ 3059379 w 8009775"/>
              <a:gd name="connsiteY114" fmla="*/ 1621155 h 6858000"/>
              <a:gd name="connsiteX115" fmla="*/ 3065291 w 8009775"/>
              <a:gd name="connsiteY115" fmla="*/ 1620204 h 6858000"/>
              <a:gd name="connsiteX116" fmla="*/ 3070906 w 8009775"/>
              <a:gd name="connsiteY116" fmla="*/ 1618934 h 6858000"/>
              <a:gd name="connsiteX117" fmla="*/ 3077113 w 8009775"/>
              <a:gd name="connsiteY117" fmla="*/ 1618299 h 6858000"/>
              <a:gd name="connsiteX118" fmla="*/ 3082729 w 8009775"/>
              <a:gd name="connsiteY118" fmla="*/ 1617981 h 6858000"/>
              <a:gd name="connsiteX119" fmla="*/ 3088936 w 8009775"/>
              <a:gd name="connsiteY119" fmla="*/ 1617981 h 6858000"/>
              <a:gd name="connsiteX120" fmla="*/ 3094552 w 8009775"/>
              <a:gd name="connsiteY120" fmla="*/ 1617981 h 6858000"/>
              <a:gd name="connsiteX121" fmla="*/ 3100758 w 8009775"/>
              <a:gd name="connsiteY121" fmla="*/ 1618299 h 6858000"/>
              <a:gd name="connsiteX122" fmla="*/ 3106670 w 8009775"/>
              <a:gd name="connsiteY122" fmla="*/ 1618934 h 6858000"/>
              <a:gd name="connsiteX123" fmla="*/ 3112285 w 8009775"/>
              <a:gd name="connsiteY123" fmla="*/ 1620204 h 6858000"/>
              <a:gd name="connsiteX124" fmla="*/ 3117901 w 8009775"/>
              <a:gd name="connsiteY124" fmla="*/ 1621155 h 6858000"/>
              <a:gd name="connsiteX125" fmla="*/ 3123812 w 8009775"/>
              <a:gd name="connsiteY125" fmla="*/ 1623061 h 6858000"/>
              <a:gd name="connsiteX126" fmla="*/ 3129428 w 8009775"/>
              <a:gd name="connsiteY126" fmla="*/ 1624649 h 6858000"/>
              <a:gd name="connsiteX127" fmla="*/ 3135339 w 8009775"/>
              <a:gd name="connsiteY127" fmla="*/ 1626871 h 6858000"/>
              <a:gd name="connsiteX128" fmla="*/ 3140660 w 8009775"/>
              <a:gd name="connsiteY128" fmla="*/ 1629094 h 6858000"/>
              <a:gd name="connsiteX129" fmla="*/ 3145980 w 8009775"/>
              <a:gd name="connsiteY129" fmla="*/ 1631950 h 6858000"/>
              <a:gd name="connsiteX130" fmla="*/ 3151300 w 8009775"/>
              <a:gd name="connsiteY130" fmla="*/ 1634809 h 6858000"/>
              <a:gd name="connsiteX131" fmla="*/ 3156324 w 8009775"/>
              <a:gd name="connsiteY131" fmla="*/ 1637984 h 6858000"/>
              <a:gd name="connsiteX132" fmla="*/ 3161349 w 8009775"/>
              <a:gd name="connsiteY132" fmla="*/ 1641794 h 6858000"/>
              <a:gd name="connsiteX133" fmla="*/ 3166374 w 8009775"/>
              <a:gd name="connsiteY133" fmla="*/ 1645603 h 6858000"/>
              <a:gd name="connsiteX134" fmla="*/ 3171102 w 8009775"/>
              <a:gd name="connsiteY134" fmla="*/ 1649414 h 6858000"/>
              <a:gd name="connsiteX135" fmla="*/ 3175832 w 8009775"/>
              <a:gd name="connsiteY135" fmla="*/ 1653859 h 6858000"/>
              <a:gd name="connsiteX136" fmla="*/ 3844692 w 8009775"/>
              <a:gd name="connsiteY136" fmla="*/ 2322830 h 6858000"/>
              <a:gd name="connsiteX137" fmla="*/ 3849421 w 8009775"/>
              <a:gd name="connsiteY137" fmla="*/ 2326958 h 6858000"/>
              <a:gd name="connsiteX138" fmla="*/ 3854150 w 8009775"/>
              <a:gd name="connsiteY138" fmla="*/ 2331085 h 6858000"/>
              <a:gd name="connsiteX139" fmla="*/ 3859175 w 8009775"/>
              <a:gd name="connsiteY139" fmla="*/ 2334895 h 6858000"/>
              <a:gd name="connsiteX140" fmla="*/ 3864199 w 8009775"/>
              <a:gd name="connsiteY140" fmla="*/ 2338705 h 6858000"/>
              <a:gd name="connsiteX141" fmla="*/ 3869224 w 8009775"/>
              <a:gd name="connsiteY141" fmla="*/ 2341880 h 6858000"/>
              <a:gd name="connsiteX142" fmla="*/ 3874544 w 8009775"/>
              <a:gd name="connsiteY142" fmla="*/ 2344738 h 6858000"/>
              <a:gd name="connsiteX143" fmla="*/ 3879864 w 8009775"/>
              <a:gd name="connsiteY143" fmla="*/ 2347595 h 6858000"/>
              <a:gd name="connsiteX144" fmla="*/ 3885775 w 8009775"/>
              <a:gd name="connsiteY144" fmla="*/ 2349818 h 6858000"/>
              <a:gd name="connsiteX145" fmla="*/ 3891096 w 8009775"/>
              <a:gd name="connsiteY145" fmla="*/ 2351723 h 6858000"/>
              <a:gd name="connsiteX146" fmla="*/ 3896711 w 8009775"/>
              <a:gd name="connsiteY146" fmla="*/ 2353628 h 6858000"/>
              <a:gd name="connsiteX147" fmla="*/ 3902623 w 8009775"/>
              <a:gd name="connsiteY147" fmla="*/ 2355534 h 6858000"/>
              <a:gd name="connsiteX148" fmla="*/ 3908238 w 8009775"/>
              <a:gd name="connsiteY148" fmla="*/ 2356485 h 6858000"/>
              <a:gd name="connsiteX149" fmla="*/ 3914150 w 8009775"/>
              <a:gd name="connsiteY149" fmla="*/ 2357755 h 6858000"/>
              <a:gd name="connsiteX150" fmla="*/ 3920061 w 8009775"/>
              <a:gd name="connsiteY150" fmla="*/ 2358391 h 6858000"/>
              <a:gd name="connsiteX151" fmla="*/ 3925972 w 8009775"/>
              <a:gd name="connsiteY151" fmla="*/ 2358708 h 6858000"/>
              <a:gd name="connsiteX152" fmla="*/ 3931883 w 8009775"/>
              <a:gd name="connsiteY152" fmla="*/ 2358708 h 6858000"/>
              <a:gd name="connsiteX153" fmla="*/ 3937795 w 8009775"/>
              <a:gd name="connsiteY153" fmla="*/ 2358708 h 6858000"/>
              <a:gd name="connsiteX154" fmla="*/ 3943706 w 8009775"/>
              <a:gd name="connsiteY154" fmla="*/ 2358391 h 6858000"/>
              <a:gd name="connsiteX155" fmla="*/ 3949617 w 8009775"/>
              <a:gd name="connsiteY155" fmla="*/ 2357755 h 6858000"/>
              <a:gd name="connsiteX156" fmla="*/ 3955233 w 8009775"/>
              <a:gd name="connsiteY156" fmla="*/ 2356485 h 6858000"/>
              <a:gd name="connsiteX157" fmla="*/ 3961144 w 8009775"/>
              <a:gd name="connsiteY157" fmla="*/ 2355534 h 6858000"/>
              <a:gd name="connsiteX158" fmla="*/ 3966760 w 8009775"/>
              <a:gd name="connsiteY158" fmla="*/ 2353628 h 6858000"/>
              <a:gd name="connsiteX159" fmla="*/ 3972671 w 8009775"/>
              <a:gd name="connsiteY159" fmla="*/ 2351723 h 6858000"/>
              <a:gd name="connsiteX160" fmla="*/ 3978287 w 8009775"/>
              <a:gd name="connsiteY160" fmla="*/ 2349818 h 6858000"/>
              <a:gd name="connsiteX161" fmla="*/ 3983607 w 8009775"/>
              <a:gd name="connsiteY161" fmla="*/ 2347595 h 6858000"/>
              <a:gd name="connsiteX162" fmla="*/ 3989223 w 8009775"/>
              <a:gd name="connsiteY162" fmla="*/ 2344738 h 6858000"/>
              <a:gd name="connsiteX163" fmla="*/ 3994543 w 8009775"/>
              <a:gd name="connsiteY163" fmla="*/ 2341880 h 6858000"/>
              <a:gd name="connsiteX164" fmla="*/ 3999567 w 8009775"/>
              <a:gd name="connsiteY164" fmla="*/ 2338705 h 6858000"/>
              <a:gd name="connsiteX165" fmla="*/ 4004888 w 8009775"/>
              <a:gd name="connsiteY165" fmla="*/ 2334895 h 6858000"/>
              <a:gd name="connsiteX166" fmla="*/ 4009617 w 8009775"/>
              <a:gd name="connsiteY166" fmla="*/ 2331085 h 6858000"/>
              <a:gd name="connsiteX167" fmla="*/ 4014346 w 8009775"/>
              <a:gd name="connsiteY167" fmla="*/ 2326958 h 6858000"/>
              <a:gd name="connsiteX168" fmla="*/ 4018779 w 8009775"/>
              <a:gd name="connsiteY168" fmla="*/ 2322830 h 6858000"/>
              <a:gd name="connsiteX169" fmla="*/ 4023213 w 8009775"/>
              <a:gd name="connsiteY169" fmla="*/ 2318068 h 6858000"/>
              <a:gd name="connsiteX170" fmla="*/ 4027646 w 8009775"/>
              <a:gd name="connsiteY170" fmla="*/ 2313306 h 6858000"/>
              <a:gd name="connsiteX171" fmla="*/ 4031193 w 8009775"/>
              <a:gd name="connsiteY171" fmla="*/ 2308544 h 6858000"/>
              <a:gd name="connsiteX172" fmla="*/ 4034740 w 8009775"/>
              <a:gd name="connsiteY172" fmla="*/ 2303463 h 6858000"/>
              <a:gd name="connsiteX173" fmla="*/ 4037991 w 8009775"/>
              <a:gd name="connsiteY173" fmla="*/ 2298384 h 6858000"/>
              <a:gd name="connsiteX174" fmla="*/ 4040946 w 8009775"/>
              <a:gd name="connsiteY174" fmla="*/ 2292985 h 6858000"/>
              <a:gd name="connsiteX175" fmla="*/ 4043606 w 8009775"/>
              <a:gd name="connsiteY175" fmla="*/ 2287588 h 6858000"/>
              <a:gd name="connsiteX176" fmla="*/ 4046267 w 8009775"/>
              <a:gd name="connsiteY176" fmla="*/ 2281873 h 6858000"/>
              <a:gd name="connsiteX177" fmla="*/ 4048040 w 8009775"/>
              <a:gd name="connsiteY177" fmla="*/ 2276476 h 6858000"/>
              <a:gd name="connsiteX178" fmla="*/ 4050109 w 8009775"/>
              <a:gd name="connsiteY178" fmla="*/ 2270761 h 6858000"/>
              <a:gd name="connsiteX179" fmla="*/ 4051587 w 8009775"/>
              <a:gd name="connsiteY179" fmla="*/ 2265046 h 6858000"/>
              <a:gd name="connsiteX180" fmla="*/ 4052769 w 8009775"/>
              <a:gd name="connsiteY180" fmla="*/ 2259331 h 6858000"/>
              <a:gd name="connsiteX181" fmla="*/ 4053656 w 8009775"/>
              <a:gd name="connsiteY181" fmla="*/ 2253298 h 6858000"/>
              <a:gd name="connsiteX182" fmla="*/ 4054542 w 8009775"/>
              <a:gd name="connsiteY182" fmla="*/ 2247266 h 6858000"/>
              <a:gd name="connsiteX183" fmla="*/ 4054838 w 8009775"/>
              <a:gd name="connsiteY183" fmla="*/ 2241551 h 6858000"/>
              <a:gd name="connsiteX184" fmla="*/ 4055133 w 8009775"/>
              <a:gd name="connsiteY184" fmla="*/ 2235519 h 6858000"/>
              <a:gd name="connsiteX185" fmla="*/ 4054838 w 8009775"/>
              <a:gd name="connsiteY185" fmla="*/ 2229804 h 6858000"/>
              <a:gd name="connsiteX186" fmla="*/ 4054542 w 8009775"/>
              <a:gd name="connsiteY186" fmla="*/ 2223770 h 6858000"/>
              <a:gd name="connsiteX187" fmla="*/ 4053656 w 8009775"/>
              <a:gd name="connsiteY187" fmla="*/ 2217739 h 6858000"/>
              <a:gd name="connsiteX188" fmla="*/ 4052769 w 8009775"/>
              <a:gd name="connsiteY188" fmla="*/ 2212024 h 6858000"/>
              <a:gd name="connsiteX189" fmla="*/ 4051587 w 8009775"/>
              <a:gd name="connsiteY189" fmla="*/ 2206309 h 6858000"/>
              <a:gd name="connsiteX190" fmla="*/ 4050109 w 8009775"/>
              <a:gd name="connsiteY190" fmla="*/ 2200593 h 6858000"/>
              <a:gd name="connsiteX191" fmla="*/ 4048040 w 8009775"/>
              <a:gd name="connsiteY191" fmla="*/ 2194878 h 6858000"/>
              <a:gd name="connsiteX192" fmla="*/ 4046267 w 8009775"/>
              <a:gd name="connsiteY192" fmla="*/ 2189163 h 6858000"/>
              <a:gd name="connsiteX193" fmla="*/ 4043606 w 8009775"/>
              <a:gd name="connsiteY193" fmla="*/ 2183765 h 6858000"/>
              <a:gd name="connsiteX194" fmla="*/ 4040946 w 8009775"/>
              <a:gd name="connsiteY194" fmla="*/ 2178368 h 6858000"/>
              <a:gd name="connsiteX195" fmla="*/ 4037991 w 8009775"/>
              <a:gd name="connsiteY195" fmla="*/ 2172970 h 6858000"/>
              <a:gd name="connsiteX196" fmla="*/ 4034740 w 8009775"/>
              <a:gd name="connsiteY196" fmla="*/ 2167890 h 6858000"/>
              <a:gd name="connsiteX197" fmla="*/ 4031193 w 8009775"/>
              <a:gd name="connsiteY197" fmla="*/ 2162494 h 6858000"/>
              <a:gd name="connsiteX198" fmla="*/ 4027646 w 8009775"/>
              <a:gd name="connsiteY198" fmla="*/ 2157730 h 6858000"/>
              <a:gd name="connsiteX199" fmla="*/ 4023213 w 8009775"/>
              <a:gd name="connsiteY199" fmla="*/ 2153285 h 6858000"/>
              <a:gd name="connsiteX200" fmla="*/ 4018779 w 8009775"/>
              <a:gd name="connsiteY200" fmla="*/ 2148523 h 6858000"/>
              <a:gd name="connsiteX201" fmla="*/ 3632182 w 8009775"/>
              <a:gd name="connsiteY201" fmla="*/ 1761490 h 6858000"/>
              <a:gd name="connsiteX202" fmla="*/ 3435928 w 8009775"/>
              <a:gd name="connsiteY202" fmla="*/ 1565276 h 6858000"/>
              <a:gd name="connsiteX203" fmla="*/ 3431198 w 8009775"/>
              <a:gd name="connsiteY203" fmla="*/ 1560514 h 6858000"/>
              <a:gd name="connsiteX204" fmla="*/ 3427356 w 8009775"/>
              <a:gd name="connsiteY204" fmla="*/ 1555751 h 6858000"/>
              <a:gd name="connsiteX205" fmla="*/ 3423218 w 8009775"/>
              <a:gd name="connsiteY205" fmla="*/ 1550671 h 6858000"/>
              <a:gd name="connsiteX206" fmla="*/ 3420262 w 8009775"/>
              <a:gd name="connsiteY206" fmla="*/ 1545909 h 6858000"/>
              <a:gd name="connsiteX207" fmla="*/ 3417012 w 8009775"/>
              <a:gd name="connsiteY207" fmla="*/ 1540829 h 6858000"/>
              <a:gd name="connsiteX208" fmla="*/ 3413760 w 8009775"/>
              <a:gd name="connsiteY208" fmla="*/ 1535430 h 6858000"/>
              <a:gd name="connsiteX209" fmla="*/ 3411100 w 8009775"/>
              <a:gd name="connsiteY209" fmla="*/ 1530034 h 6858000"/>
              <a:gd name="connsiteX210" fmla="*/ 3408736 w 8009775"/>
              <a:gd name="connsiteY210" fmla="*/ 1524635 h 6858000"/>
              <a:gd name="connsiteX211" fmla="*/ 3406371 w 8009775"/>
              <a:gd name="connsiteY211" fmla="*/ 1518920 h 6858000"/>
              <a:gd name="connsiteX212" fmla="*/ 3404598 w 8009775"/>
              <a:gd name="connsiteY212" fmla="*/ 1513205 h 6858000"/>
              <a:gd name="connsiteX213" fmla="*/ 3403120 w 8009775"/>
              <a:gd name="connsiteY213" fmla="*/ 1507174 h 6858000"/>
              <a:gd name="connsiteX214" fmla="*/ 3401938 w 8009775"/>
              <a:gd name="connsiteY214" fmla="*/ 1501459 h 6858000"/>
              <a:gd name="connsiteX215" fmla="*/ 3401051 w 8009775"/>
              <a:gd name="connsiteY215" fmla="*/ 1495744 h 6858000"/>
              <a:gd name="connsiteX216" fmla="*/ 3400460 w 8009775"/>
              <a:gd name="connsiteY216" fmla="*/ 1489710 h 6858000"/>
              <a:gd name="connsiteX217" fmla="*/ 3399869 w 8009775"/>
              <a:gd name="connsiteY217" fmla="*/ 1483995 h 6858000"/>
              <a:gd name="connsiteX218" fmla="*/ 3399573 w 8009775"/>
              <a:gd name="connsiteY218" fmla="*/ 1478281 h 6858000"/>
              <a:gd name="connsiteX219" fmla="*/ 3399869 w 8009775"/>
              <a:gd name="connsiteY219" fmla="*/ 1472249 h 6858000"/>
              <a:gd name="connsiteX220" fmla="*/ 3400460 w 8009775"/>
              <a:gd name="connsiteY220" fmla="*/ 1466215 h 6858000"/>
              <a:gd name="connsiteX221" fmla="*/ 3401051 w 8009775"/>
              <a:gd name="connsiteY221" fmla="*/ 1460183 h 6858000"/>
              <a:gd name="connsiteX222" fmla="*/ 3401938 w 8009775"/>
              <a:gd name="connsiteY222" fmla="*/ 1454468 h 6858000"/>
              <a:gd name="connsiteX223" fmla="*/ 3403120 w 8009775"/>
              <a:gd name="connsiteY223" fmla="*/ 1448754 h 6858000"/>
              <a:gd name="connsiteX224" fmla="*/ 3404598 w 8009775"/>
              <a:gd name="connsiteY224" fmla="*/ 1443039 h 6858000"/>
              <a:gd name="connsiteX225" fmla="*/ 3406371 w 8009775"/>
              <a:gd name="connsiteY225" fmla="*/ 1437324 h 6858000"/>
              <a:gd name="connsiteX226" fmla="*/ 3408736 w 8009775"/>
              <a:gd name="connsiteY226" fmla="*/ 1431609 h 6858000"/>
              <a:gd name="connsiteX227" fmla="*/ 3411100 w 8009775"/>
              <a:gd name="connsiteY227" fmla="*/ 1426211 h 6858000"/>
              <a:gd name="connsiteX228" fmla="*/ 3413760 w 8009775"/>
              <a:gd name="connsiteY228" fmla="*/ 1420814 h 6858000"/>
              <a:gd name="connsiteX229" fmla="*/ 3417012 w 8009775"/>
              <a:gd name="connsiteY229" fmla="*/ 1415416 h 6858000"/>
              <a:gd name="connsiteX230" fmla="*/ 3420262 w 8009775"/>
              <a:gd name="connsiteY230" fmla="*/ 1410336 h 6858000"/>
              <a:gd name="connsiteX231" fmla="*/ 3423218 w 8009775"/>
              <a:gd name="connsiteY231" fmla="*/ 1405256 h 6858000"/>
              <a:gd name="connsiteX232" fmla="*/ 3427356 w 8009775"/>
              <a:gd name="connsiteY232" fmla="*/ 1400175 h 6858000"/>
              <a:gd name="connsiteX233" fmla="*/ 3431198 w 8009775"/>
              <a:gd name="connsiteY233" fmla="*/ 1395731 h 6858000"/>
              <a:gd name="connsiteX234" fmla="*/ 3435928 w 8009775"/>
              <a:gd name="connsiteY234" fmla="*/ 1390969 h 6858000"/>
              <a:gd name="connsiteX235" fmla="*/ 3440361 w 8009775"/>
              <a:gd name="connsiteY235" fmla="*/ 1386524 h 6858000"/>
              <a:gd name="connsiteX236" fmla="*/ 3445386 w 8009775"/>
              <a:gd name="connsiteY236" fmla="*/ 1382396 h 6858000"/>
              <a:gd name="connsiteX237" fmla="*/ 3449819 w 8009775"/>
              <a:gd name="connsiteY237" fmla="*/ 1378585 h 6858000"/>
              <a:gd name="connsiteX238" fmla="*/ 3454844 w 8009775"/>
              <a:gd name="connsiteY238" fmla="*/ 1375094 h 6858000"/>
              <a:gd name="connsiteX239" fmla="*/ 3460459 w 8009775"/>
              <a:gd name="connsiteY239" fmla="*/ 1371919 h 6858000"/>
              <a:gd name="connsiteX240" fmla="*/ 3465780 w 8009775"/>
              <a:gd name="connsiteY240" fmla="*/ 1369061 h 6858000"/>
              <a:gd name="connsiteX241" fmla="*/ 3471100 w 8009775"/>
              <a:gd name="connsiteY241" fmla="*/ 1366204 h 6858000"/>
              <a:gd name="connsiteX242" fmla="*/ 3476420 w 8009775"/>
              <a:gd name="connsiteY242" fmla="*/ 1363980 h 6858000"/>
              <a:gd name="connsiteX243" fmla="*/ 3482331 w 8009775"/>
              <a:gd name="connsiteY243" fmla="*/ 1361759 h 6858000"/>
              <a:gd name="connsiteX244" fmla="*/ 3487947 w 8009775"/>
              <a:gd name="connsiteY244" fmla="*/ 1360170 h 6858000"/>
              <a:gd name="connsiteX245" fmla="*/ 3493858 w 8009775"/>
              <a:gd name="connsiteY245" fmla="*/ 1358265 h 6858000"/>
              <a:gd name="connsiteX246" fmla="*/ 3499474 w 8009775"/>
              <a:gd name="connsiteY246" fmla="*/ 1357314 h 6858000"/>
              <a:gd name="connsiteX247" fmla="*/ 3505385 w 8009775"/>
              <a:gd name="connsiteY247" fmla="*/ 1356043 h 6858000"/>
              <a:gd name="connsiteX248" fmla="*/ 3511001 w 8009775"/>
              <a:gd name="connsiteY248" fmla="*/ 1355409 h 6858000"/>
              <a:gd name="connsiteX249" fmla="*/ 3517208 w 8009775"/>
              <a:gd name="connsiteY249" fmla="*/ 1355090 h 6858000"/>
              <a:gd name="connsiteX250" fmla="*/ 3522823 w 8009775"/>
              <a:gd name="connsiteY250" fmla="*/ 1354773 h 6858000"/>
              <a:gd name="connsiteX251" fmla="*/ 3529030 w 8009775"/>
              <a:gd name="connsiteY251" fmla="*/ 1355090 h 6858000"/>
              <a:gd name="connsiteX252" fmla="*/ 3534646 w 8009775"/>
              <a:gd name="connsiteY252" fmla="*/ 1355409 h 6858000"/>
              <a:gd name="connsiteX253" fmla="*/ 3540557 w 8009775"/>
              <a:gd name="connsiteY253" fmla="*/ 1356043 h 6858000"/>
              <a:gd name="connsiteX254" fmla="*/ 3546468 w 8009775"/>
              <a:gd name="connsiteY254" fmla="*/ 1357314 h 6858000"/>
              <a:gd name="connsiteX255" fmla="*/ 3552380 w 8009775"/>
              <a:gd name="connsiteY255" fmla="*/ 1358265 h 6858000"/>
              <a:gd name="connsiteX256" fmla="*/ 3557995 w 8009775"/>
              <a:gd name="connsiteY256" fmla="*/ 1360170 h 6858000"/>
              <a:gd name="connsiteX257" fmla="*/ 3563906 w 8009775"/>
              <a:gd name="connsiteY257" fmla="*/ 1361759 h 6858000"/>
              <a:gd name="connsiteX258" fmla="*/ 3569227 w 8009775"/>
              <a:gd name="connsiteY258" fmla="*/ 1363980 h 6858000"/>
              <a:gd name="connsiteX259" fmla="*/ 3574842 w 8009775"/>
              <a:gd name="connsiteY259" fmla="*/ 1366204 h 6858000"/>
              <a:gd name="connsiteX260" fmla="*/ 3580458 w 8009775"/>
              <a:gd name="connsiteY260" fmla="*/ 1369061 h 6858000"/>
              <a:gd name="connsiteX261" fmla="*/ 3585778 w 8009775"/>
              <a:gd name="connsiteY261" fmla="*/ 1371919 h 6858000"/>
              <a:gd name="connsiteX262" fmla="*/ 3590803 w 8009775"/>
              <a:gd name="connsiteY262" fmla="*/ 1375094 h 6858000"/>
              <a:gd name="connsiteX263" fmla="*/ 3595828 w 8009775"/>
              <a:gd name="connsiteY263" fmla="*/ 1378585 h 6858000"/>
              <a:gd name="connsiteX264" fmla="*/ 3600852 w 8009775"/>
              <a:gd name="connsiteY264" fmla="*/ 1382396 h 6858000"/>
              <a:gd name="connsiteX265" fmla="*/ 3605581 w 8009775"/>
              <a:gd name="connsiteY265" fmla="*/ 1386524 h 6858000"/>
              <a:gd name="connsiteX266" fmla="*/ 3610014 w 8009775"/>
              <a:gd name="connsiteY266" fmla="*/ 1390969 h 6858000"/>
              <a:gd name="connsiteX267" fmla="*/ 3817500 w 8009775"/>
              <a:gd name="connsiteY267" fmla="*/ 1598296 h 6858000"/>
              <a:gd name="connsiteX268" fmla="*/ 3821934 w 8009775"/>
              <a:gd name="connsiteY268" fmla="*/ 1602423 h 6858000"/>
              <a:gd name="connsiteX269" fmla="*/ 3826663 w 8009775"/>
              <a:gd name="connsiteY269" fmla="*/ 1606869 h 6858000"/>
              <a:gd name="connsiteX270" fmla="*/ 3831687 w 8009775"/>
              <a:gd name="connsiteY270" fmla="*/ 1610361 h 6858000"/>
              <a:gd name="connsiteX271" fmla="*/ 3836712 w 8009775"/>
              <a:gd name="connsiteY271" fmla="*/ 1613854 h 6858000"/>
              <a:gd name="connsiteX272" fmla="*/ 3841736 w 8009775"/>
              <a:gd name="connsiteY272" fmla="*/ 1617345 h 6858000"/>
              <a:gd name="connsiteX273" fmla="*/ 3847352 w 8009775"/>
              <a:gd name="connsiteY273" fmla="*/ 1620204 h 6858000"/>
              <a:gd name="connsiteX274" fmla="*/ 3852672 w 8009775"/>
              <a:gd name="connsiteY274" fmla="*/ 1623061 h 6858000"/>
              <a:gd name="connsiteX275" fmla="*/ 3857992 w 8009775"/>
              <a:gd name="connsiteY275" fmla="*/ 1625283 h 6858000"/>
              <a:gd name="connsiteX276" fmla="*/ 3863608 w 8009775"/>
              <a:gd name="connsiteY276" fmla="*/ 1627189 h 6858000"/>
              <a:gd name="connsiteX277" fmla="*/ 3869519 w 8009775"/>
              <a:gd name="connsiteY277" fmla="*/ 1629094 h 6858000"/>
              <a:gd name="connsiteX278" fmla="*/ 3875135 w 8009775"/>
              <a:gd name="connsiteY278" fmla="*/ 1630998 h 6858000"/>
              <a:gd name="connsiteX279" fmla="*/ 3881046 w 8009775"/>
              <a:gd name="connsiteY279" fmla="*/ 1631950 h 6858000"/>
              <a:gd name="connsiteX280" fmla="*/ 3886662 w 8009775"/>
              <a:gd name="connsiteY280" fmla="*/ 1632904 h 6858000"/>
              <a:gd name="connsiteX281" fmla="*/ 3892869 w 8009775"/>
              <a:gd name="connsiteY281" fmla="*/ 1633856 h 6858000"/>
              <a:gd name="connsiteX282" fmla="*/ 3898485 w 8009775"/>
              <a:gd name="connsiteY282" fmla="*/ 1634174 h 6858000"/>
              <a:gd name="connsiteX283" fmla="*/ 3904396 w 8009775"/>
              <a:gd name="connsiteY283" fmla="*/ 1634174 h 6858000"/>
              <a:gd name="connsiteX284" fmla="*/ 3910307 w 8009775"/>
              <a:gd name="connsiteY284" fmla="*/ 1634174 h 6858000"/>
              <a:gd name="connsiteX285" fmla="*/ 3916219 w 8009775"/>
              <a:gd name="connsiteY285" fmla="*/ 1633856 h 6858000"/>
              <a:gd name="connsiteX286" fmla="*/ 3922425 w 8009775"/>
              <a:gd name="connsiteY286" fmla="*/ 1632904 h 6858000"/>
              <a:gd name="connsiteX287" fmla="*/ 3928041 w 8009775"/>
              <a:gd name="connsiteY287" fmla="*/ 1631950 h 6858000"/>
              <a:gd name="connsiteX288" fmla="*/ 3933657 w 8009775"/>
              <a:gd name="connsiteY288" fmla="*/ 1630998 h 6858000"/>
              <a:gd name="connsiteX289" fmla="*/ 3939568 w 8009775"/>
              <a:gd name="connsiteY289" fmla="*/ 1629094 h 6858000"/>
              <a:gd name="connsiteX290" fmla="*/ 3945184 w 8009775"/>
              <a:gd name="connsiteY290" fmla="*/ 1627189 h 6858000"/>
              <a:gd name="connsiteX291" fmla="*/ 3950799 w 8009775"/>
              <a:gd name="connsiteY291" fmla="*/ 1625283 h 6858000"/>
              <a:gd name="connsiteX292" fmla="*/ 3956415 w 8009775"/>
              <a:gd name="connsiteY292" fmla="*/ 1623061 h 6858000"/>
              <a:gd name="connsiteX293" fmla="*/ 3961735 w 8009775"/>
              <a:gd name="connsiteY293" fmla="*/ 1620204 h 6858000"/>
              <a:gd name="connsiteX294" fmla="*/ 3967055 w 8009775"/>
              <a:gd name="connsiteY294" fmla="*/ 1617345 h 6858000"/>
              <a:gd name="connsiteX295" fmla="*/ 3972376 w 8009775"/>
              <a:gd name="connsiteY295" fmla="*/ 1613854 h 6858000"/>
              <a:gd name="connsiteX296" fmla="*/ 3977400 w 8009775"/>
              <a:gd name="connsiteY296" fmla="*/ 1610361 h 6858000"/>
              <a:gd name="connsiteX297" fmla="*/ 3982425 w 8009775"/>
              <a:gd name="connsiteY297" fmla="*/ 1606869 h 6858000"/>
              <a:gd name="connsiteX298" fmla="*/ 3986858 w 8009775"/>
              <a:gd name="connsiteY298" fmla="*/ 1602423 h 6858000"/>
              <a:gd name="connsiteX299" fmla="*/ 3991587 w 8009775"/>
              <a:gd name="connsiteY299" fmla="*/ 1598296 h 6858000"/>
              <a:gd name="connsiteX300" fmla="*/ 3996021 w 8009775"/>
              <a:gd name="connsiteY300" fmla="*/ 1593533 h 6858000"/>
              <a:gd name="connsiteX301" fmla="*/ 4000159 w 8009775"/>
              <a:gd name="connsiteY301" fmla="*/ 1588771 h 6858000"/>
              <a:gd name="connsiteX302" fmla="*/ 4003705 w 8009775"/>
              <a:gd name="connsiteY302" fmla="*/ 1583691 h 6858000"/>
              <a:gd name="connsiteX303" fmla="*/ 4007548 w 8009775"/>
              <a:gd name="connsiteY303" fmla="*/ 1578928 h 6858000"/>
              <a:gd name="connsiteX304" fmla="*/ 4010799 w 8009775"/>
              <a:gd name="connsiteY304" fmla="*/ 1573849 h 6858000"/>
              <a:gd name="connsiteX305" fmla="*/ 4013459 w 8009775"/>
              <a:gd name="connsiteY305" fmla="*/ 1568451 h 6858000"/>
              <a:gd name="connsiteX306" fmla="*/ 4016415 w 8009775"/>
              <a:gd name="connsiteY306" fmla="*/ 1563054 h 6858000"/>
              <a:gd name="connsiteX307" fmla="*/ 4018484 w 8009775"/>
              <a:gd name="connsiteY307" fmla="*/ 1557339 h 6858000"/>
              <a:gd name="connsiteX308" fmla="*/ 4020848 w 8009775"/>
              <a:gd name="connsiteY308" fmla="*/ 1551941 h 6858000"/>
              <a:gd name="connsiteX309" fmla="*/ 4022621 w 8009775"/>
              <a:gd name="connsiteY309" fmla="*/ 1546226 h 6858000"/>
              <a:gd name="connsiteX310" fmla="*/ 4024395 w 8009775"/>
              <a:gd name="connsiteY310" fmla="*/ 1540511 h 6858000"/>
              <a:gd name="connsiteX311" fmla="*/ 4025282 w 8009775"/>
              <a:gd name="connsiteY311" fmla="*/ 1534478 h 6858000"/>
              <a:gd name="connsiteX312" fmla="*/ 4026464 w 8009775"/>
              <a:gd name="connsiteY312" fmla="*/ 1528763 h 6858000"/>
              <a:gd name="connsiteX313" fmla="*/ 4027055 w 8009775"/>
              <a:gd name="connsiteY313" fmla="*/ 1522731 h 6858000"/>
              <a:gd name="connsiteX314" fmla="*/ 4027646 w 8009775"/>
              <a:gd name="connsiteY314" fmla="*/ 1517016 h 6858000"/>
              <a:gd name="connsiteX315" fmla="*/ 4027646 w 8009775"/>
              <a:gd name="connsiteY315" fmla="*/ 1510984 h 6858000"/>
              <a:gd name="connsiteX316" fmla="*/ 4027646 w 8009775"/>
              <a:gd name="connsiteY316" fmla="*/ 1505268 h 6858000"/>
              <a:gd name="connsiteX317" fmla="*/ 4027055 w 8009775"/>
              <a:gd name="connsiteY317" fmla="*/ 1499553 h 6858000"/>
              <a:gd name="connsiteX318" fmla="*/ 4026464 w 8009775"/>
              <a:gd name="connsiteY318" fmla="*/ 1493204 h 6858000"/>
              <a:gd name="connsiteX319" fmla="*/ 4025282 w 8009775"/>
              <a:gd name="connsiteY319" fmla="*/ 1487489 h 6858000"/>
              <a:gd name="connsiteX320" fmla="*/ 4024395 w 8009775"/>
              <a:gd name="connsiteY320" fmla="*/ 1481773 h 6858000"/>
              <a:gd name="connsiteX321" fmla="*/ 4022621 w 8009775"/>
              <a:gd name="connsiteY321" fmla="*/ 1476058 h 6858000"/>
              <a:gd name="connsiteX322" fmla="*/ 4020848 w 8009775"/>
              <a:gd name="connsiteY322" fmla="*/ 1470343 h 6858000"/>
              <a:gd name="connsiteX323" fmla="*/ 4018484 w 8009775"/>
              <a:gd name="connsiteY323" fmla="*/ 1464629 h 6858000"/>
              <a:gd name="connsiteX324" fmla="*/ 4016415 w 8009775"/>
              <a:gd name="connsiteY324" fmla="*/ 1459231 h 6858000"/>
              <a:gd name="connsiteX325" fmla="*/ 4013459 w 8009775"/>
              <a:gd name="connsiteY325" fmla="*/ 1453834 h 6858000"/>
              <a:gd name="connsiteX326" fmla="*/ 4010799 w 8009775"/>
              <a:gd name="connsiteY326" fmla="*/ 1448436 h 6858000"/>
              <a:gd name="connsiteX327" fmla="*/ 4007548 w 8009775"/>
              <a:gd name="connsiteY327" fmla="*/ 1443356 h 6858000"/>
              <a:gd name="connsiteX328" fmla="*/ 4003705 w 8009775"/>
              <a:gd name="connsiteY328" fmla="*/ 1438275 h 6858000"/>
              <a:gd name="connsiteX329" fmla="*/ 4000159 w 8009775"/>
              <a:gd name="connsiteY329" fmla="*/ 1433195 h 6858000"/>
              <a:gd name="connsiteX330" fmla="*/ 3996021 w 8009775"/>
              <a:gd name="connsiteY330" fmla="*/ 1428751 h 6858000"/>
              <a:gd name="connsiteX331" fmla="*/ 3991587 w 8009775"/>
              <a:gd name="connsiteY331" fmla="*/ 1423988 h 6858000"/>
              <a:gd name="connsiteX332" fmla="*/ 3323022 w 8009775"/>
              <a:gd name="connsiteY332" fmla="*/ 755333 h 6858000"/>
              <a:gd name="connsiteX333" fmla="*/ 3316815 w 8009775"/>
              <a:gd name="connsiteY333" fmla="*/ 748348 h 6858000"/>
              <a:gd name="connsiteX334" fmla="*/ 3310904 w 8009775"/>
              <a:gd name="connsiteY334" fmla="*/ 741045 h 6858000"/>
              <a:gd name="connsiteX335" fmla="*/ 3305584 w 8009775"/>
              <a:gd name="connsiteY335" fmla="*/ 733108 h 6858000"/>
              <a:gd name="connsiteX336" fmla="*/ 3300855 w 8009775"/>
              <a:gd name="connsiteY336" fmla="*/ 725170 h 6858000"/>
              <a:gd name="connsiteX337" fmla="*/ 3297308 w 8009775"/>
              <a:gd name="connsiteY337" fmla="*/ 716915 h 6858000"/>
              <a:gd name="connsiteX338" fmla="*/ 3293761 w 8009775"/>
              <a:gd name="connsiteY338" fmla="*/ 708660 h 6858000"/>
              <a:gd name="connsiteX339" fmla="*/ 3291101 w 8009775"/>
              <a:gd name="connsiteY339" fmla="*/ 699770 h 6858000"/>
              <a:gd name="connsiteX340" fmla="*/ 3289328 w 8009775"/>
              <a:gd name="connsiteY340" fmla="*/ 691198 h 6858000"/>
              <a:gd name="connsiteX341" fmla="*/ 2596527 w 8009775"/>
              <a:gd name="connsiteY34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</a:cxnLst>
            <a:rect l="l" t="t" r="r" b="b"/>
            <a:pathLst>
              <a:path w="8009775" h="6858000">
                <a:moveTo>
                  <a:pt x="2596527" y="0"/>
                </a:moveTo>
                <a:lnTo>
                  <a:pt x="2165004" y="0"/>
                </a:lnTo>
                <a:lnTo>
                  <a:pt x="3265978" y="1101091"/>
                </a:lnTo>
                <a:lnTo>
                  <a:pt x="3270708" y="1105854"/>
                </a:lnTo>
                <a:lnTo>
                  <a:pt x="3274550" y="1110615"/>
                </a:lnTo>
                <a:lnTo>
                  <a:pt x="3278688" y="1115696"/>
                </a:lnTo>
                <a:lnTo>
                  <a:pt x="3282234" y="1120776"/>
                </a:lnTo>
                <a:lnTo>
                  <a:pt x="3285486" y="1126174"/>
                </a:lnTo>
                <a:lnTo>
                  <a:pt x="3288146" y="1131570"/>
                </a:lnTo>
                <a:lnTo>
                  <a:pt x="3291101" y="1136968"/>
                </a:lnTo>
                <a:lnTo>
                  <a:pt x="3293761" y="1142366"/>
                </a:lnTo>
                <a:lnTo>
                  <a:pt x="3295830" y="1148081"/>
                </a:lnTo>
                <a:lnTo>
                  <a:pt x="3297604" y="1153796"/>
                </a:lnTo>
                <a:lnTo>
                  <a:pt x="3299082" y="1159829"/>
                </a:lnTo>
                <a:lnTo>
                  <a:pt x="3300559" y="1165544"/>
                </a:lnTo>
                <a:lnTo>
                  <a:pt x="3301446" y="1171893"/>
                </a:lnTo>
                <a:lnTo>
                  <a:pt x="3302333" y="1177608"/>
                </a:lnTo>
                <a:cubicBezTo>
                  <a:pt x="3302431" y="1179619"/>
                  <a:pt x="3302530" y="1181630"/>
                  <a:pt x="3302628" y="1183641"/>
                </a:cubicBezTo>
                <a:lnTo>
                  <a:pt x="3302628" y="1189356"/>
                </a:lnTo>
                <a:lnTo>
                  <a:pt x="3302628" y="1195388"/>
                </a:lnTo>
                <a:cubicBezTo>
                  <a:pt x="3302530" y="1197505"/>
                  <a:pt x="3302431" y="1199622"/>
                  <a:pt x="3302333" y="1201739"/>
                </a:cubicBezTo>
                <a:lnTo>
                  <a:pt x="3301446" y="1207454"/>
                </a:lnTo>
                <a:lnTo>
                  <a:pt x="3300559" y="1213486"/>
                </a:lnTo>
                <a:lnTo>
                  <a:pt x="3299082" y="1219200"/>
                </a:lnTo>
                <a:lnTo>
                  <a:pt x="3297604" y="1225233"/>
                </a:lnTo>
                <a:lnTo>
                  <a:pt x="3295830" y="1230949"/>
                </a:lnTo>
                <a:lnTo>
                  <a:pt x="3293761" y="1236346"/>
                </a:lnTo>
                <a:lnTo>
                  <a:pt x="3291101" y="1242061"/>
                </a:lnTo>
                <a:lnTo>
                  <a:pt x="3288146" y="1247459"/>
                </a:lnTo>
                <a:lnTo>
                  <a:pt x="3285486" y="1252855"/>
                </a:lnTo>
                <a:lnTo>
                  <a:pt x="3282234" y="1258254"/>
                </a:lnTo>
                <a:lnTo>
                  <a:pt x="3278688" y="1263333"/>
                </a:lnTo>
                <a:lnTo>
                  <a:pt x="3274550" y="1268413"/>
                </a:lnTo>
                <a:lnTo>
                  <a:pt x="3270708" y="1273494"/>
                </a:lnTo>
                <a:lnTo>
                  <a:pt x="3265978" y="1278255"/>
                </a:lnTo>
                <a:lnTo>
                  <a:pt x="3261249" y="1282384"/>
                </a:lnTo>
                <a:lnTo>
                  <a:pt x="3256816" y="1286510"/>
                </a:lnTo>
                <a:lnTo>
                  <a:pt x="3251791" y="1290321"/>
                </a:lnTo>
                <a:lnTo>
                  <a:pt x="3246767" y="1293814"/>
                </a:lnTo>
                <a:lnTo>
                  <a:pt x="3241151" y="1297306"/>
                </a:lnTo>
                <a:lnTo>
                  <a:pt x="3235831" y="1300481"/>
                </a:lnTo>
                <a:lnTo>
                  <a:pt x="3230511" y="1303021"/>
                </a:lnTo>
                <a:lnTo>
                  <a:pt x="3224600" y="1305560"/>
                </a:lnTo>
                <a:lnTo>
                  <a:pt x="3218984" y="1307465"/>
                </a:lnTo>
                <a:lnTo>
                  <a:pt x="3213072" y="1309371"/>
                </a:lnTo>
                <a:lnTo>
                  <a:pt x="3207457" y="1311275"/>
                </a:lnTo>
                <a:lnTo>
                  <a:pt x="3201841" y="1312228"/>
                </a:lnTo>
                <a:lnTo>
                  <a:pt x="3195634" y="1313180"/>
                </a:lnTo>
                <a:lnTo>
                  <a:pt x="3189428" y="1314133"/>
                </a:lnTo>
                <a:lnTo>
                  <a:pt x="3183812" y="1314450"/>
                </a:lnTo>
                <a:lnTo>
                  <a:pt x="3177605" y="1314769"/>
                </a:lnTo>
                <a:lnTo>
                  <a:pt x="3171694" y="1314450"/>
                </a:lnTo>
                <a:lnTo>
                  <a:pt x="3165782" y="1314133"/>
                </a:lnTo>
                <a:lnTo>
                  <a:pt x="3159576" y="1313180"/>
                </a:lnTo>
                <a:lnTo>
                  <a:pt x="3153960" y="1312228"/>
                </a:lnTo>
                <a:lnTo>
                  <a:pt x="3147753" y="1311275"/>
                </a:lnTo>
                <a:lnTo>
                  <a:pt x="3142137" y="1309371"/>
                </a:lnTo>
                <a:lnTo>
                  <a:pt x="3136226" y="1307465"/>
                </a:lnTo>
                <a:lnTo>
                  <a:pt x="3130610" y="1305560"/>
                </a:lnTo>
                <a:lnTo>
                  <a:pt x="3124994" y="1303021"/>
                </a:lnTo>
                <a:lnTo>
                  <a:pt x="3119379" y="1300481"/>
                </a:lnTo>
                <a:lnTo>
                  <a:pt x="3114059" y="1297306"/>
                </a:lnTo>
                <a:lnTo>
                  <a:pt x="3109034" y="1293814"/>
                </a:lnTo>
                <a:lnTo>
                  <a:pt x="3103714" y="1290321"/>
                </a:lnTo>
                <a:lnTo>
                  <a:pt x="3098689" y="1286510"/>
                </a:lnTo>
                <a:lnTo>
                  <a:pt x="3093960" y="1282384"/>
                </a:lnTo>
                <a:lnTo>
                  <a:pt x="3089231" y="1278255"/>
                </a:lnTo>
                <a:lnTo>
                  <a:pt x="1811214" y="0"/>
                </a:lnTo>
                <a:lnTo>
                  <a:pt x="0" y="0"/>
                </a:lnTo>
                <a:lnTo>
                  <a:pt x="0" y="6858000"/>
                </a:lnTo>
                <a:lnTo>
                  <a:pt x="8009775" y="6858000"/>
                </a:lnTo>
                <a:lnTo>
                  <a:pt x="3001744" y="1828166"/>
                </a:lnTo>
                <a:lnTo>
                  <a:pt x="2997311" y="1823404"/>
                </a:lnTo>
                <a:lnTo>
                  <a:pt x="2992878" y="1818640"/>
                </a:lnTo>
                <a:lnTo>
                  <a:pt x="2989331" y="1814195"/>
                </a:lnTo>
                <a:lnTo>
                  <a:pt x="2985784" y="1808799"/>
                </a:lnTo>
                <a:lnTo>
                  <a:pt x="2982533" y="1803718"/>
                </a:lnTo>
                <a:lnTo>
                  <a:pt x="2979873" y="1798321"/>
                </a:lnTo>
                <a:lnTo>
                  <a:pt x="2976917" y="1792924"/>
                </a:lnTo>
                <a:lnTo>
                  <a:pt x="2974552" y="1787526"/>
                </a:lnTo>
                <a:lnTo>
                  <a:pt x="2972484" y="1781811"/>
                </a:lnTo>
                <a:lnTo>
                  <a:pt x="2970710" y="1776095"/>
                </a:lnTo>
                <a:lnTo>
                  <a:pt x="2968937" y="1770380"/>
                </a:lnTo>
                <a:lnTo>
                  <a:pt x="2967755" y="1764665"/>
                </a:lnTo>
                <a:lnTo>
                  <a:pt x="2966868" y="1758634"/>
                </a:lnTo>
                <a:lnTo>
                  <a:pt x="2965981" y="1752919"/>
                </a:lnTo>
                <a:cubicBezTo>
                  <a:pt x="2965883" y="1750908"/>
                  <a:pt x="2965784" y="1748896"/>
                  <a:pt x="2965686" y="1746885"/>
                </a:cubicBezTo>
                <a:lnTo>
                  <a:pt x="2965686" y="1741170"/>
                </a:lnTo>
                <a:lnTo>
                  <a:pt x="2965686" y="1735139"/>
                </a:lnTo>
                <a:cubicBezTo>
                  <a:pt x="2965784" y="1733234"/>
                  <a:pt x="2965883" y="1731329"/>
                  <a:pt x="2965981" y="1729424"/>
                </a:cubicBezTo>
                <a:lnTo>
                  <a:pt x="2966868" y="1723074"/>
                </a:lnTo>
                <a:lnTo>
                  <a:pt x="2967755" y="1717358"/>
                </a:lnTo>
                <a:lnTo>
                  <a:pt x="2968937" y="1711643"/>
                </a:lnTo>
                <a:lnTo>
                  <a:pt x="2970710" y="1705929"/>
                </a:lnTo>
                <a:lnTo>
                  <a:pt x="2972484" y="1700214"/>
                </a:lnTo>
                <a:lnTo>
                  <a:pt x="2974552" y="1694816"/>
                </a:lnTo>
                <a:lnTo>
                  <a:pt x="2976917" y="1689101"/>
                </a:lnTo>
                <a:lnTo>
                  <a:pt x="2979873" y="1683703"/>
                </a:lnTo>
                <a:lnTo>
                  <a:pt x="2982533" y="1678305"/>
                </a:lnTo>
                <a:lnTo>
                  <a:pt x="2985784" y="1673226"/>
                </a:lnTo>
                <a:lnTo>
                  <a:pt x="2989331" y="1668145"/>
                </a:lnTo>
                <a:lnTo>
                  <a:pt x="2992878" y="1663066"/>
                </a:lnTo>
                <a:lnTo>
                  <a:pt x="2997311" y="1658621"/>
                </a:lnTo>
                <a:lnTo>
                  <a:pt x="3001744" y="1653859"/>
                </a:lnTo>
                <a:lnTo>
                  <a:pt x="3006178" y="1649414"/>
                </a:lnTo>
                <a:lnTo>
                  <a:pt x="3010907" y="1645603"/>
                </a:lnTo>
                <a:lnTo>
                  <a:pt x="3015932" y="1641794"/>
                </a:lnTo>
                <a:lnTo>
                  <a:pt x="3020956" y="1637984"/>
                </a:lnTo>
                <a:lnTo>
                  <a:pt x="3025981" y="1634809"/>
                </a:lnTo>
                <a:lnTo>
                  <a:pt x="3031596" y="1631950"/>
                </a:lnTo>
                <a:lnTo>
                  <a:pt x="3036916" y="1629094"/>
                </a:lnTo>
                <a:lnTo>
                  <a:pt x="3042532" y="1626871"/>
                </a:lnTo>
                <a:lnTo>
                  <a:pt x="3047852" y="1624649"/>
                </a:lnTo>
                <a:lnTo>
                  <a:pt x="3053764" y="1623061"/>
                </a:lnTo>
                <a:lnTo>
                  <a:pt x="3059379" y="1621155"/>
                </a:lnTo>
                <a:lnTo>
                  <a:pt x="3065291" y="1620204"/>
                </a:lnTo>
                <a:lnTo>
                  <a:pt x="3070906" y="1618934"/>
                </a:lnTo>
                <a:lnTo>
                  <a:pt x="3077113" y="1618299"/>
                </a:lnTo>
                <a:lnTo>
                  <a:pt x="3082729" y="1617981"/>
                </a:lnTo>
                <a:lnTo>
                  <a:pt x="3088936" y="1617981"/>
                </a:lnTo>
                <a:lnTo>
                  <a:pt x="3094552" y="1617981"/>
                </a:lnTo>
                <a:lnTo>
                  <a:pt x="3100758" y="1618299"/>
                </a:lnTo>
                <a:lnTo>
                  <a:pt x="3106670" y="1618934"/>
                </a:lnTo>
                <a:lnTo>
                  <a:pt x="3112285" y="1620204"/>
                </a:lnTo>
                <a:lnTo>
                  <a:pt x="3117901" y="1621155"/>
                </a:lnTo>
                <a:lnTo>
                  <a:pt x="3123812" y="1623061"/>
                </a:lnTo>
                <a:lnTo>
                  <a:pt x="3129428" y="1624649"/>
                </a:lnTo>
                <a:lnTo>
                  <a:pt x="3135339" y="1626871"/>
                </a:lnTo>
                <a:lnTo>
                  <a:pt x="3140660" y="1629094"/>
                </a:lnTo>
                <a:lnTo>
                  <a:pt x="3145980" y="1631950"/>
                </a:lnTo>
                <a:lnTo>
                  <a:pt x="3151300" y="1634809"/>
                </a:lnTo>
                <a:lnTo>
                  <a:pt x="3156324" y="1637984"/>
                </a:lnTo>
                <a:lnTo>
                  <a:pt x="3161349" y="1641794"/>
                </a:lnTo>
                <a:lnTo>
                  <a:pt x="3166374" y="1645603"/>
                </a:lnTo>
                <a:lnTo>
                  <a:pt x="3171102" y="1649414"/>
                </a:lnTo>
                <a:lnTo>
                  <a:pt x="3175832" y="1653859"/>
                </a:lnTo>
                <a:lnTo>
                  <a:pt x="3844692" y="2322830"/>
                </a:lnTo>
                <a:lnTo>
                  <a:pt x="3849421" y="2326958"/>
                </a:lnTo>
                <a:lnTo>
                  <a:pt x="3854150" y="2331085"/>
                </a:lnTo>
                <a:lnTo>
                  <a:pt x="3859175" y="2334895"/>
                </a:lnTo>
                <a:lnTo>
                  <a:pt x="3864199" y="2338705"/>
                </a:lnTo>
                <a:lnTo>
                  <a:pt x="3869224" y="2341880"/>
                </a:lnTo>
                <a:lnTo>
                  <a:pt x="3874544" y="2344738"/>
                </a:lnTo>
                <a:lnTo>
                  <a:pt x="3879864" y="2347595"/>
                </a:lnTo>
                <a:lnTo>
                  <a:pt x="3885775" y="2349818"/>
                </a:lnTo>
                <a:lnTo>
                  <a:pt x="3891096" y="2351723"/>
                </a:lnTo>
                <a:lnTo>
                  <a:pt x="3896711" y="2353628"/>
                </a:lnTo>
                <a:lnTo>
                  <a:pt x="3902623" y="2355534"/>
                </a:lnTo>
                <a:lnTo>
                  <a:pt x="3908238" y="2356485"/>
                </a:lnTo>
                <a:lnTo>
                  <a:pt x="3914150" y="2357755"/>
                </a:lnTo>
                <a:lnTo>
                  <a:pt x="3920061" y="2358391"/>
                </a:lnTo>
                <a:lnTo>
                  <a:pt x="3925972" y="2358708"/>
                </a:lnTo>
                <a:lnTo>
                  <a:pt x="3931883" y="2358708"/>
                </a:lnTo>
                <a:lnTo>
                  <a:pt x="3937795" y="2358708"/>
                </a:lnTo>
                <a:lnTo>
                  <a:pt x="3943706" y="2358391"/>
                </a:lnTo>
                <a:lnTo>
                  <a:pt x="3949617" y="2357755"/>
                </a:lnTo>
                <a:lnTo>
                  <a:pt x="3955233" y="2356485"/>
                </a:lnTo>
                <a:lnTo>
                  <a:pt x="3961144" y="2355534"/>
                </a:lnTo>
                <a:lnTo>
                  <a:pt x="3966760" y="2353628"/>
                </a:lnTo>
                <a:lnTo>
                  <a:pt x="3972671" y="2351723"/>
                </a:lnTo>
                <a:lnTo>
                  <a:pt x="3978287" y="2349818"/>
                </a:lnTo>
                <a:lnTo>
                  <a:pt x="3983607" y="2347595"/>
                </a:lnTo>
                <a:lnTo>
                  <a:pt x="3989223" y="2344738"/>
                </a:lnTo>
                <a:lnTo>
                  <a:pt x="3994543" y="2341880"/>
                </a:lnTo>
                <a:lnTo>
                  <a:pt x="3999567" y="2338705"/>
                </a:lnTo>
                <a:lnTo>
                  <a:pt x="4004888" y="2334895"/>
                </a:lnTo>
                <a:lnTo>
                  <a:pt x="4009617" y="2331085"/>
                </a:lnTo>
                <a:lnTo>
                  <a:pt x="4014346" y="2326958"/>
                </a:lnTo>
                <a:lnTo>
                  <a:pt x="4018779" y="2322830"/>
                </a:lnTo>
                <a:lnTo>
                  <a:pt x="4023213" y="2318068"/>
                </a:lnTo>
                <a:lnTo>
                  <a:pt x="4027646" y="2313306"/>
                </a:lnTo>
                <a:lnTo>
                  <a:pt x="4031193" y="2308544"/>
                </a:lnTo>
                <a:lnTo>
                  <a:pt x="4034740" y="2303463"/>
                </a:lnTo>
                <a:lnTo>
                  <a:pt x="4037991" y="2298384"/>
                </a:lnTo>
                <a:lnTo>
                  <a:pt x="4040946" y="2292985"/>
                </a:lnTo>
                <a:lnTo>
                  <a:pt x="4043606" y="2287588"/>
                </a:lnTo>
                <a:lnTo>
                  <a:pt x="4046267" y="2281873"/>
                </a:lnTo>
                <a:lnTo>
                  <a:pt x="4048040" y="2276476"/>
                </a:lnTo>
                <a:lnTo>
                  <a:pt x="4050109" y="2270761"/>
                </a:lnTo>
                <a:lnTo>
                  <a:pt x="4051587" y="2265046"/>
                </a:lnTo>
                <a:lnTo>
                  <a:pt x="4052769" y="2259331"/>
                </a:lnTo>
                <a:lnTo>
                  <a:pt x="4053656" y="2253298"/>
                </a:lnTo>
                <a:lnTo>
                  <a:pt x="4054542" y="2247266"/>
                </a:lnTo>
                <a:cubicBezTo>
                  <a:pt x="4054641" y="2245362"/>
                  <a:pt x="4054739" y="2243456"/>
                  <a:pt x="4054838" y="2241551"/>
                </a:cubicBezTo>
                <a:cubicBezTo>
                  <a:pt x="4054936" y="2239540"/>
                  <a:pt x="4055035" y="2237530"/>
                  <a:pt x="4055133" y="2235519"/>
                </a:cubicBezTo>
                <a:cubicBezTo>
                  <a:pt x="4055035" y="2233614"/>
                  <a:pt x="4054936" y="2231709"/>
                  <a:pt x="4054838" y="2229804"/>
                </a:cubicBezTo>
                <a:cubicBezTo>
                  <a:pt x="4054739" y="2227793"/>
                  <a:pt x="4054641" y="2225781"/>
                  <a:pt x="4054542" y="2223770"/>
                </a:cubicBezTo>
                <a:lnTo>
                  <a:pt x="4053656" y="2217739"/>
                </a:lnTo>
                <a:lnTo>
                  <a:pt x="4052769" y="2212024"/>
                </a:lnTo>
                <a:lnTo>
                  <a:pt x="4051587" y="2206309"/>
                </a:lnTo>
                <a:lnTo>
                  <a:pt x="4050109" y="2200593"/>
                </a:lnTo>
                <a:lnTo>
                  <a:pt x="4048040" y="2194878"/>
                </a:lnTo>
                <a:lnTo>
                  <a:pt x="4046267" y="2189163"/>
                </a:lnTo>
                <a:lnTo>
                  <a:pt x="4043606" y="2183765"/>
                </a:lnTo>
                <a:lnTo>
                  <a:pt x="4040946" y="2178368"/>
                </a:lnTo>
                <a:lnTo>
                  <a:pt x="4037991" y="2172970"/>
                </a:lnTo>
                <a:lnTo>
                  <a:pt x="4034740" y="2167890"/>
                </a:lnTo>
                <a:lnTo>
                  <a:pt x="4031193" y="2162494"/>
                </a:lnTo>
                <a:lnTo>
                  <a:pt x="4027646" y="2157730"/>
                </a:lnTo>
                <a:lnTo>
                  <a:pt x="4023213" y="2153285"/>
                </a:lnTo>
                <a:lnTo>
                  <a:pt x="4018779" y="2148523"/>
                </a:lnTo>
                <a:lnTo>
                  <a:pt x="3632182" y="1761490"/>
                </a:lnTo>
                <a:lnTo>
                  <a:pt x="3435928" y="1565276"/>
                </a:lnTo>
                <a:lnTo>
                  <a:pt x="3431198" y="1560514"/>
                </a:lnTo>
                <a:lnTo>
                  <a:pt x="3427356" y="1555751"/>
                </a:lnTo>
                <a:lnTo>
                  <a:pt x="3423218" y="1550671"/>
                </a:lnTo>
                <a:lnTo>
                  <a:pt x="3420262" y="1545909"/>
                </a:lnTo>
                <a:lnTo>
                  <a:pt x="3417012" y="1540829"/>
                </a:lnTo>
                <a:lnTo>
                  <a:pt x="3413760" y="1535430"/>
                </a:lnTo>
                <a:lnTo>
                  <a:pt x="3411100" y="1530034"/>
                </a:lnTo>
                <a:lnTo>
                  <a:pt x="3408736" y="1524635"/>
                </a:lnTo>
                <a:lnTo>
                  <a:pt x="3406371" y="1518920"/>
                </a:lnTo>
                <a:lnTo>
                  <a:pt x="3404598" y="1513205"/>
                </a:lnTo>
                <a:lnTo>
                  <a:pt x="3403120" y="1507174"/>
                </a:lnTo>
                <a:lnTo>
                  <a:pt x="3401938" y="1501459"/>
                </a:lnTo>
                <a:lnTo>
                  <a:pt x="3401051" y="1495744"/>
                </a:lnTo>
                <a:lnTo>
                  <a:pt x="3400460" y="1489710"/>
                </a:lnTo>
                <a:lnTo>
                  <a:pt x="3399869" y="1483995"/>
                </a:lnTo>
                <a:cubicBezTo>
                  <a:pt x="3399770" y="1482090"/>
                  <a:pt x="3399672" y="1480186"/>
                  <a:pt x="3399573" y="1478281"/>
                </a:cubicBezTo>
                <a:cubicBezTo>
                  <a:pt x="3399672" y="1476270"/>
                  <a:pt x="3399770" y="1474260"/>
                  <a:pt x="3399869" y="1472249"/>
                </a:cubicBezTo>
                <a:lnTo>
                  <a:pt x="3400460" y="1466215"/>
                </a:lnTo>
                <a:lnTo>
                  <a:pt x="3401051" y="1460183"/>
                </a:lnTo>
                <a:lnTo>
                  <a:pt x="3401938" y="1454468"/>
                </a:lnTo>
                <a:lnTo>
                  <a:pt x="3403120" y="1448754"/>
                </a:lnTo>
                <a:lnTo>
                  <a:pt x="3404598" y="1443039"/>
                </a:lnTo>
                <a:lnTo>
                  <a:pt x="3406371" y="1437324"/>
                </a:lnTo>
                <a:lnTo>
                  <a:pt x="3408736" y="1431609"/>
                </a:lnTo>
                <a:lnTo>
                  <a:pt x="3411100" y="1426211"/>
                </a:lnTo>
                <a:lnTo>
                  <a:pt x="3413760" y="1420814"/>
                </a:lnTo>
                <a:lnTo>
                  <a:pt x="3417012" y="1415416"/>
                </a:lnTo>
                <a:lnTo>
                  <a:pt x="3420262" y="1410336"/>
                </a:lnTo>
                <a:lnTo>
                  <a:pt x="3423218" y="1405256"/>
                </a:lnTo>
                <a:lnTo>
                  <a:pt x="3427356" y="1400175"/>
                </a:lnTo>
                <a:lnTo>
                  <a:pt x="3431198" y="1395731"/>
                </a:lnTo>
                <a:lnTo>
                  <a:pt x="3435928" y="1390969"/>
                </a:lnTo>
                <a:lnTo>
                  <a:pt x="3440361" y="1386524"/>
                </a:lnTo>
                <a:lnTo>
                  <a:pt x="3445386" y="1382396"/>
                </a:lnTo>
                <a:lnTo>
                  <a:pt x="3449819" y="1378585"/>
                </a:lnTo>
                <a:lnTo>
                  <a:pt x="3454844" y="1375094"/>
                </a:lnTo>
                <a:lnTo>
                  <a:pt x="3460459" y="1371919"/>
                </a:lnTo>
                <a:lnTo>
                  <a:pt x="3465780" y="1369061"/>
                </a:lnTo>
                <a:lnTo>
                  <a:pt x="3471100" y="1366204"/>
                </a:lnTo>
                <a:lnTo>
                  <a:pt x="3476420" y="1363980"/>
                </a:lnTo>
                <a:lnTo>
                  <a:pt x="3482331" y="1361759"/>
                </a:lnTo>
                <a:lnTo>
                  <a:pt x="3487947" y="1360170"/>
                </a:lnTo>
                <a:lnTo>
                  <a:pt x="3493858" y="1358265"/>
                </a:lnTo>
                <a:lnTo>
                  <a:pt x="3499474" y="1357314"/>
                </a:lnTo>
                <a:lnTo>
                  <a:pt x="3505385" y="1356043"/>
                </a:lnTo>
                <a:lnTo>
                  <a:pt x="3511001" y="1355409"/>
                </a:lnTo>
                <a:lnTo>
                  <a:pt x="3517208" y="1355090"/>
                </a:lnTo>
                <a:lnTo>
                  <a:pt x="3522823" y="1354773"/>
                </a:lnTo>
                <a:lnTo>
                  <a:pt x="3529030" y="1355090"/>
                </a:lnTo>
                <a:lnTo>
                  <a:pt x="3534646" y="1355409"/>
                </a:lnTo>
                <a:lnTo>
                  <a:pt x="3540557" y="1356043"/>
                </a:lnTo>
                <a:lnTo>
                  <a:pt x="3546468" y="1357314"/>
                </a:lnTo>
                <a:lnTo>
                  <a:pt x="3552380" y="1358265"/>
                </a:lnTo>
                <a:lnTo>
                  <a:pt x="3557995" y="1360170"/>
                </a:lnTo>
                <a:lnTo>
                  <a:pt x="3563906" y="1361759"/>
                </a:lnTo>
                <a:lnTo>
                  <a:pt x="3569227" y="1363980"/>
                </a:lnTo>
                <a:lnTo>
                  <a:pt x="3574842" y="1366204"/>
                </a:lnTo>
                <a:lnTo>
                  <a:pt x="3580458" y="1369061"/>
                </a:lnTo>
                <a:lnTo>
                  <a:pt x="3585778" y="1371919"/>
                </a:lnTo>
                <a:lnTo>
                  <a:pt x="3590803" y="1375094"/>
                </a:lnTo>
                <a:lnTo>
                  <a:pt x="3595828" y="1378585"/>
                </a:lnTo>
                <a:lnTo>
                  <a:pt x="3600852" y="1382396"/>
                </a:lnTo>
                <a:lnTo>
                  <a:pt x="3605581" y="1386524"/>
                </a:lnTo>
                <a:lnTo>
                  <a:pt x="3610014" y="1390969"/>
                </a:lnTo>
                <a:lnTo>
                  <a:pt x="3817500" y="1598296"/>
                </a:lnTo>
                <a:lnTo>
                  <a:pt x="3821934" y="1602423"/>
                </a:lnTo>
                <a:lnTo>
                  <a:pt x="3826663" y="1606869"/>
                </a:lnTo>
                <a:lnTo>
                  <a:pt x="3831687" y="1610361"/>
                </a:lnTo>
                <a:lnTo>
                  <a:pt x="3836712" y="1613854"/>
                </a:lnTo>
                <a:lnTo>
                  <a:pt x="3841736" y="1617345"/>
                </a:lnTo>
                <a:lnTo>
                  <a:pt x="3847352" y="1620204"/>
                </a:lnTo>
                <a:lnTo>
                  <a:pt x="3852672" y="1623061"/>
                </a:lnTo>
                <a:lnTo>
                  <a:pt x="3857992" y="1625283"/>
                </a:lnTo>
                <a:lnTo>
                  <a:pt x="3863608" y="1627189"/>
                </a:lnTo>
                <a:lnTo>
                  <a:pt x="3869519" y="1629094"/>
                </a:lnTo>
                <a:lnTo>
                  <a:pt x="3875135" y="1630998"/>
                </a:lnTo>
                <a:lnTo>
                  <a:pt x="3881046" y="1631950"/>
                </a:lnTo>
                <a:lnTo>
                  <a:pt x="3886662" y="1632904"/>
                </a:lnTo>
                <a:lnTo>
                  <a:pt x="3892869" y="1633856"/>
                </a:lnTo>
                <a:lnTo>
                  <a:pt x="3898485" y="1634174"/>
                </a:lnTo>
                <a:lnTo>
                  <a:pt x="3904396" y="1634174"/>
                </a:lnTo>
                <a:lnTo>
                  <a:pt x="3910307" y="1634174"/>
                </a:lnTo>
                <a:lnTo>
                  <a:pt x="3916219" y="1633856"/>
                </a:lnTo>
                <a:lnTo>
                  <a:pt x="3922425" y="1632904"/>
                </a:lnTo>
                <a:lnTo>
                  <a:pt x="3928041" y="1631950"/>
                </a:lnTo>
                <a:lnTo>
                  <a:pt x="3933657" y="1630998"/>
                </a:lnTo>
                <a:lnTo>
                  <a:pt x="3939568" y="1629094"/>
                </a:lnTo>
                <a:lnTo>
                  <a:pt x="3945184" y="1627189"/>
                </a:lnTo>
                <a:lnTo>
                  <a:pt x="3950799" y="1625283"/>
                </a:lnTo>
                <a:lnTo>
                  <a:pt x="3956415" y="1623061"/>
                </a:lnTo>
                <a:lnTo>
                  <a:pt x="3961735" y="1620204"/>
                </a:lnTo>
                <a:lnTo>
                  <a:pt x="3967055" y="1617345"/>
                </a:lnTo>
                <a:lnTo>
                  <a:pt x="3972376" y="1613854"/>
                </a:lnTo>
                <a:lnTo>
                  <a:pt x="3977400" y="1610361"/>
                </a:lnTo>
                <a:lnTo>
                  <a:pt x="3982425" y="1606869"/>
                </a:lnTo>
                <a:lnTo>
                  <a:pt x="3986858" y="1602423"/>
                </a:lnTo>
                <a:lnTo>
                  <a:pt x="3991587" y="1598296"/>
                </a:lnTo>
                <a:lnTo>
                  <a:pt x="3996021" y="1593533"/>
                </a:lnTo>
                <a:lnTo>
                  <a:pt x="4000159" y="1588771"/>
                </a:lnTo>
                <a:lnTo>
                  <a:pt x="4003705" y="1583691"/>
                </a:lnTo>
                <a:lnTo>
                  <a:pt x="4007548" y="1578928"/>
                </a:lnTo>
                <a:lnTo>
                  <a:pt x="4010799" y="1573849"/>
                </a:lnTo>
                <a:lnTo>
                  <a:pt x="4013459" y="1568451"/>
                </a:lnTo>
                <a:lnTo>
                  <a:pt x="4016415" y="1563054"/>
                </a:lnTo>
                <a:lnTo>
                  <a:pt x="4018484" y="1557339"/>
                </a:lnTo>
                <a:lnTo>
                  <a:pt x="4020848" y="1551941"/>
                </a:lnTo>
                <a:lnTo>
                  <a:pt x="4022621" y="1546226"/>
                </a:lnTo>
                <a:lnTo>
                  <a:pt x="4024395" y="1540511"/>
                </a:lnTo>
                <a:lnTo>
                  <a:pt x="4025282" y="1534478"/>
                </a:lnTo>
                <a:lnTo>
                  <a:pt x="4026464" y="1528763"/>
                </a:lnTo>
                <a:lnTo>
                  <a:pt x="4027055" y="1522731"/>
                </a:lnTo>
                <a:lnTo>
                  <a:pt x="4027646" y="1517016"/>
                </a:lnTo>
                <a:lnTo>
                  <a:pt x="4027646" y="1510984"/>
                </a:lnTo>
                <a:lnTo>
                  <a:pt x="4027646" y="1505268"/>
                </a:lnTo>
                <a:lnTo>
                  <a:pt x="4027055" y="1499553"/>
                </a:lnTo>
                <a:lnTo>
                  <a:pt x="4026464" y="1493204"/>
                </a:lnTo>
                <a:lnTo>
                  <a:pt x="4025282" y="1487489"/>
                </a:lnTo>
                <a:lnTo>
                  <a:pt x="4024395" y="1481773"/>
                </a:lnTo>
                <a:lnTo>
                  <a:pt x="4022621" y="1476058"/>
                </a:lnTo>
                <a:lnTo>
                  <a:pt x="4020848" y="1470343"/>
                </a:lnTo>
                <a:lnTo>
                  <a:pt x="4018484" y="1464629"/>
                </a:lnTo>
                <a:lnTo>
                  <a:pt x="4016415" y="1459231"/>
                </a:lnTo>
                <a:lnTo>
                  <a:pt x="4013459" y="1453834"/>
                </a:lnTo>
                <a:lnTo>
                  <a:pt x="4010799" y="1448436"/>
                </a:lnTo>
                <a:lnTo>
                  <a:pt x="4007548" y="1443356"/>
                </a:lnTo>
                <a:lnTo>
                  <a:pt x="4003705" y="1438275"/>
                </a:lnTo>
                <a:lnTo>
                  <a:pt x="4000159" y="1433195"/>
                </a:lnTo>
                <a:lnTo>
                  <a:pt x="3996021" y="1428751"/>
                </a:lnTo>
                <a:lnTo>
                  <a:pt x="3991587" y="1423988"/>
                </a:lnTo>
                <a:lnTo>
                  <a:pt x="3323022" y="755333"/>
                </a:lnTo>
                <a:lnTo>
                  <a:pt x="3316815" y="748348"/>
                </a:lnTo>
                <a:lnTo>
                  <a:pt x="3310904" y="741045"/>
                </a:lnTo>
                <a:lnTo>
                  <a:pt x="3305584" y="733108"/>
                </a:lnTo>
                <a:lnTo>
                  <a:pt x="3300855" y="725170"/>
                </a:lnTo>
                <a:lnTo>
                  <a:pt x="3297308" y="716915"/>
                </a:lnTo>
                <a:lnTo>
                  <a:pt x="3293761" y="708660"/>
                </a:lnTo>
                <a:lnTo>
                  <a:pt x="3291101" y="699770"/>
                </a:lnTo>
                <a:lnTo>
                  <a:pt x="3289328" y="691198"/>
                </a:lnTo>
                <a:lnTo>
                  <a:pt x="2596527" y="0"/>
                </a:lnTo>
                <a:close/>
              </a:path>
            </a:pathLst>
          </a:custGeom>
          <a:solidFill>
            <a:schemeClr val="bg2">
              <a:lumMod val="10000"/>
              <a:alpha val="82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1" name="Freeform 7">
            <a:extLst>
              <a:ext uri="{FF2B5EF4-FFF2-40B4-BE49-F238E27FC236}">
                <a16:creationId xmlns:a16="http://schemas.microsoft.com/office/drawing/2014/main" id="{E5352E9B-2952-4405-984B-E89769F3F80E}"/>
              </a:ext>
            </a:extLst>
          </p:cNvPr>
          <p:cNvSpPr>
            <a:spLocks/>
          </p:cNvSpPr>
          <p:nvPr userDrawn="1"/>
        </p:nvSpPr>
        <p:spPr bwMode="auto">
          <a:xfrm flipH="1">
            <a:off x="2722141" y="4797425"/>
            <a:ext cx="2543326" cy="2060575"/>
          </a:xfrm>
          <a:custGeom>
            <a:avLst/>
            <a:gdLst>
              <a:gd name="T0" fmla="*/ 156 w 8608"/>
              <a:gd name="T1" fmla="*/ 1515 h 6490"/>
              <a:gd name="T2" fmla="*/ 226 w 8608"/>
              <a:gd name="T3" fmla="*/ 1472 h 6490"/>
              <a:gd name="T4" fmla="*/ 303 w 8608"/>
              <a:gd name="T5" fmla="*/ 1444 h 6490"/>
              <a:gd name="T6" fmla="*/ 382 w 8608"/>
              <a:gd name="T7" fmla="*/ 1429 h 6490"/>
              <a:gd name="T8" fmla="*/ 463 w 8608"/>
              <a:gd name="T9" fmla="*/ 1429 h 6490"/>
              <a:gd name="T10" fmla="*/ 542 w 8608"/>
              <a:gd name="T11" fmla="*/ 1444 h 6490"/>
              <a:gd name="T12" fmla="*/ 619 w 8608"/>
              <a:gd name="T13" fmla="*/ 1472 h 6490"/>
              <a:gd name="T14" fmla="*/ 689 w 8608"/>
              <a:gd name="T15" fmla="*/ 1515 h 6490"/>
              <a:gd name="T16" fmla="*/ 3176 w 8608"/>
              <a:gd name="T17" fmla="*/ 3828 h 6490"/>
              <a:gd name="T18" fmla="*/ 3243 w 8608"/>
              <a:gd name="T19" fmla="*/ 3879 h 6490"/>
              <a:gd name="T20" fmla="*/ 3316 w 8608"/>
              <a:gd name="T21" fmla="*/ 3915 h 6490"/>
              <a:gd name="T22" fmla="*/ 3393 w 8608"/>
              <a:gd name="T23" fmla="*/ 3936 h 6490"/>
              <a:gd name="T24" fmla="*/ 3475 w 8608"/>
              <a:gd name="T25" fmla="*/ 3943 h 6490"/>
              <a:gd name="T26" fmla="*/ 3555 w 8608"/>
              <a:gd name="T27" fmla="*/ 3936 h 6490"/>
              <a:gd name="T28" fmla="*/ 3633 w 8608"/>
              <a:gd name="T29" fmla="*/ 3915 h 6490"/>
              <a:gd name="T30" fmla="*/ 3706 w 8608"/>
              <a:gd name="T31" fmla="*/ 3879 h 6490"/>
              <a:gd name="T32" fmla="*/ 3772 w 8608"/>
              <a:gd name="T33" fmla="*/ 3828 h 6490"/>
              <a:gd name="T34" fmla="*/ 3814 w 8608"/>
              <a:gd name="T35" fmla="*/ 3783 h 6490"/>
              <a:gd name="T36" fmla="*/ 3856 w 8608"/>
              <a:gd name="T37" fmla="*/ 3716 h 6490"/>
              <a:gd name="T38" fmla="*/ 3884 w 8608"/>
              <a:gd name="T39" fmla="*/ 3644 h 6490"/>
              <a:gd name="T40" fmla="*/ 3895 w 8608"/>
              <a:gd name="T41" fmla="*/ 3570 h 6490"/>
              <a:gd name="T42" fmla="*/ 3892 w 8608"/>
              <a:gd name="T43" fmla="*/ 3494 h 6490"/>
              <a:gd name="T44" fmla="*/ 3872 w 8608"/>
              <a:gd name="T45" fmla="*/ 3420 h 6490"/>
              <a:gd name="T46" fmla="*/ 3838 w 8608"/>
              <a:gd name="T47" fmla="*/ 3351 h 6490"/>
              <a:gd name="T48" fmla="*/ 3787 w 8608"/>
              <a:gd name="T49" fmla="*/ 3288 h 6490"/>
              <a:gd name="T50" fmla="*/ 963 w 8608"/>
              <a:gd name="T51" fmla="*/ 656 h 6490"/>
              <a:gd name="T52" fmla="*/ 913 w 8608"/>
              <a:gd name="T53" fmla="*/ 593 h 6490"/>
              <a:gd name="T54" fmla="*/ 878 w 8608"/>
              <a:gd name="T55" fmla="*/ 523 h 6490"/>
              <a:gd name="T56" fmla="*/ 858 w 8608"/>
              <a:gd name="T57" fmla="*/ 449 h 6490"/>
              <a:gd name="T58" fmla="*/ 854 w 8608"/>
              <a:gd name="T59" fmla="*/ 375 h 6490"/>
              <a:gd name="T60" fmla="*/ 865 w 8608"/>
              <a:gd name="T61" fmla="*/ 300 h 6490"/>
              <a:gd name="T62" fmla="*/ 893 w 8608"/>
              <a:gd name="T63" fmla="*/ 228 h 6490"/>
              <a:gd name="T64" fmla="*/ 936 w 8608"/>
              <a:gd name="T65" fmla="*/ 161 h 6490"/>
              <a:gd name="T66" fmla="*/ 977 w 8608"/>
              <a:gd name="T67" fmla="*/ 116 h 6490"/>
              <a:gd name="T68" fmla="*/ 1044 w 8608"/>
              <a:gd name="T69" fmla="*/ 66 h 6490"/>
              <a:gd name="T70" fmla="*/ 1117 w 8608"/>
              <a:gd name="T71" fmla="*/ 30 h 6490"/>
              <a:gd name="T72" fmla="*/ 1195 w 8608"/>
              <a:gd name="T73" fmla="*/ 8 h 6490"/>
              <a:gd name="T74" fmla="*/ 1276 w 8608"/>
              <a:gd name="T75" fmla="*/ 0 h 6490"/>
              <a:gd name="T76" fmla="*/ 1356 w 8608"/>
              <a:gd name="T77" fmla="*/ 8 h 6490"/>
              <a:gd name="T78" fmla="*/ 1434 w 8608"/>
              <a:gd name="T79" fmla="*/ 30 h 6490"/>
              <a:gd name="T80" fmla="*/ 1508 w 8608"/>
              <a:gd name="T81" fmla="*/ 66 h 6490"/>
              <a:gd name="T82" fmla="*/ 1574 w 8608"/>
              <a:gd name="T83" fmla="*/ 116 h 6490"/>
              <a:gd name="T84" fmla="*/ 3679 w 8608"/>
              <a:gd name="T85" fmla="*/ 2073 h 6490"/>
              <a:gd name="T86" fmla="*/ 3749 w 8608"/>
              <a:gd name="T87" fmla="*/ 2116 h 6490"/>
              <a:gd name="T88" fmla="*/ 3826 w 8608"/>
              <a:gd name="T89" fmla="*/ 2145 h 6490"/>
              <a:gd name="T90" fmla="*/ 3906 w 8608"/>
              <a:gd name="T91" fmla="*/ 2159 h 6490"/>
              <a:gd name="T92" fmla="*/ 4842 w 8608"/>
              <a:gd name="T93" fmla="*/ 6490 h 6490"/>
              <a:gd name="T94" fmla="*/ 95 w 8608"/>
              <a:gd name="T95" fmla="*/ 2068 h 6490"/>
              <a:gd name="T96" fmla="*/ 49 w 8608"/>
              <a:gd name="T97" fmla="*/ 2003 h 6490"/>
              <a:gd name="T98" fmla="*/ 18 w 8608"/>
              <a:gd name="T99" fmla="*/ 1931 h 6490"/>
              <a:gd name="T100" fmla="*/ 2 w 8608"/>
              <a:gd name="T101" fmla="*/ 1858 h 6490"/>
              <a:gd name="T102" fmla="*/ 2 w 8608"/>
              <a:gd name="T103" fmla="*/ 1782 h 6490"/>
              <a:gd name="T104" fmla="*/ 18 w 8608"/>
              <a:gd name="T105" fmla="*/ 1709 h 6490"/>
              <a:gd name="T106" fmla="*/ 49 w 8608"/>
              <a:gd name="T107" fmla="*/ 1637 h 6490"/>
              <a:gd name="T108" fmla="*/ 95 w 8608"/>
              <a:gd name="T109" fmla="*/ 1572 h 64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8608" h="6490">
                <a:moveTo>
                  <a:pt x="124" y="1542"/>
                </a:moveTo>
                <a:lnTo>
                  <a:pt x="124" y="1542"/>
                </a:lnTo>
                <a:lnTo>
                  <a:pt x="140" y="1529"/>
                </a:lnTo>
                <a:lnTo>
                  <a:pt x="156" y="1515"/>
                </a:lnTo>
                <a:lnTo>
                  <a:pt x="173" y="1504"/>
                </a:lnTo>
                <a:lnTo>
                  <a:pt x="191" y="1493"/>
                </a:lnTo>
                <a:lnTo>
                  <a:pt x="208" y="1482"/>
                </a:lnTo>
                <a:lnTo>
                  <a:pt x="226" y="1472"/>
                </a:lnTo>
                <a:lnTo>
                  <a:pt x="244" y="1464"/>
                </a:lnTo>
                <a:lnTo>
                  <a:pt x="264" y="1456"/>
                </a:lnTo>
                <a:lnTo>
                  <a:pt x="283" y="1450"/>
                </a:lnTo>
                <a:lnTo>
                  <a:pt x="303" y="1444"/>
                </a:lnTo>
                <a:lnTo>
                  <a:pt x="322" y="1438"/>
                </a:lnTo>
                <a:lnTo>
                  <a:pt x="342" y="1435"/>
                </a:lnTo>
                <a:lnTo>
                  <a:pt x="362" y="1431"/>
                </a:lnTo>
                <a:lnTo>
                  <a:pt x="382" y="1429"/>
                </a:lnTo>
                <a:lnTo>
                  <a:pt x="402" y="1428"/>
                </a:lnTo>
                <a:lnTo>
                  <a:pt x="422" y="1427"/>
                </a:lnTo>
                <a:lnTo>
                  <a:pt x="442" y="1428"/>
                </a:lnTo>
                <a:lnTo>
                  <a:pt x="463" y="1429"/>
                </a:lnTo>
                <a:lnTo>
                  <a:pt x="483" y="1431"/>
                </a:lnTo>
                <a:lnTo>
                  <a:pt x="503" y="1435"/>
                </a:lnTo>
                <a:lnTo>
                  <a:pt x="523" y="1438"/>
                </a:lnTo>
                <a:lnTo>
                  <a:pt x="542" y="1444"/>
                </a:lnTo>
                <a:lnTo>
                  <a:pt x="562" y="1450"/>
                </a:lnTo>
                <a:lnTo>
                  <a:pt x="581" y="1456"/>
                </a:lnTo>
                <a:lnTo>
                  <a:pt x="600" y="1464"/>
                </a:lnTo>
                <a:lnTo>
                  <a:pt x="619" y="1472"/>
                </a:lnTo>
                <a:lnTo>
                  <a:pt x="637" y="1482"/>
                </a:lnTo>
                <a:lnTo>
                  <a:pt x="654" y="1493"/>
                </a:lnTo>
                <a:lnTo>
                  <a:pt x="672" y="1504"/>
                </a:lnTo>
                <a:lnTo>
                  <a:pt x="689" y="1515"/>
                </a:lnTo>
                <a:lnTo>
                  <a:pt x="705" y="1529"/>
                </a:lnTo>
                <a:lnTo>
                  <a:pt x="721" y="1542"/>
                </a:lnTo>
                <a:lnTo>
                  <a:pt x="3176" y="3828"/>
                </a:lnTo>
                <a:lnTo>
                  <a:pt x="3176" y="3828"/>
                </a:lnTo>
                <a:lnTo>
                  <a:pt x="3192" y="3842"/>
                </a:lnTo>
                <a:lnTo>
                  <a:pt x="3209" y="3855"/>
                </a:lnTo>
                <a:lnTo>
                  <a:pt x="3224" y="3867"/>
                </a:lnTo>
                <a:lnTo>
                  <a:pt x="3243" y="3879"/>
                </a:lnTo>
                <a:lnTo>
                  <a:pt x="3260" y="3889"/>
                </a:lnTo>
                <a:lnTo>
                  <a:pt x="3278" y="3898"/>
                </a:lnTo>
                <a:lnTo>
                  <a:pt x="3296" y="3907"/>
                </a:lnTo>
                <a:lnTo>
                  <a:pt x="3316" y="3915"/>
                </a:lnTo>
                <a:lnTo>
                  <a:pt x="3335" y="3922"/>
                </a:lnTo>
                <a:lnTo>
                  <a:pt x="3354" y="3927"/>
                </a:lnTo>
                <a:lnTo>
                  <a:pt x="3374" y="3932"/>
                </a:lnTo>
                <a:lnTo>
                  <a:pt x="3393" y="3936"/>
                </a:lnTo>
                <a:lnTo>
                  <a:pt x="3414" y="3939"/>
                </a:lnTo>
                <a:lnTo>
                  <a:pt x="3433" y="3941"/>
                </a:lnTo>
                <a:lnTo>
                  <a:pt x="3454" y="3943"/>
                </a:lnTo>
                <a:lnTo>
                  <a:pt x="3475" y="3943"/>
                </a:lnTo>
                <a:lnTo>
                  <a:pt x="3494" y="3943"/>
                </a:lnTo>
                <a:lnTo>
                  <a:pt x="3515" y="3941"/>
                </a:lnTo>
                <a:lnTo>
                  <a:pt x="3534" y="3939"/>
                </a:lnTo>
                <a:lnTo>
                  <a:pt x="3555" y="3936"/>
                </a:lnTo>
                <a:lnTo>
                  <a:pt x="3574" y="3932"/>
                </a:lnTo>
                <a:lnTo>
                  <a:pt x="3594" y="3927"/>
                </a:lnTo>
                <a:lnTo>
                  <a:pt x="3613" y="3922"/>
                </a:lnTo>
                <a:lnTo>
                  <a:pt x="3633" y="3915"/>
                </a:lnTo>
                <a:lnTo>
                  <a:pt x="3652" y="3907"/>
                </a:lnTo>
                <a:lnTo>
                  <a:pt x="3670" y="3898"/>
                </a:lnTo>
                <a:lnTo>
                  <a:pt x="3689" y="3889"/>
                </a:lnTo>
                <a:lnTo>
                  <a:pt x="3706" y="3879"/>
                </a:lnTo>
                <a:lnTo>
                  <a:pt x="3724" y="3867"/>
                </a:lnTo>
                <a:lnTo>
                  <a:pt x="3741" y="3855"/>
                </a:lnTo>
                <a:lnTo>
                  <a:pt x="3757" y="3842"/>
                </a:lnTo>
                <a:lnTo>
                  <a:pt x="3772" y="3828"/>
                </a:lnTo>
                <a:lnTo>
                  <a:pt x="3772" y="3828"/>
                </a:lnTo>
                <a:lnTo>
                  <a:pt x="3787" y="3813"/>
                </a:lnTo>
                <a:lnTo>
                  <a:pt x="3802" y="3798"/>
                </a:lnTo>
                <a:lnTo>
                  <a:pt x="3814" y="3783"/>
                </a:lnTo>
                <a:lnTo>
                  <a:pt x="3826" y="3767"/>
                </a:lnTo>
                <a:lnTo>
                  <a:pt x="3838" y="3750"/>
                </a:lnTo>
                <a:lnTo>
                  <a:pt x="3848" y="3733"/>
                </a:lnTo>
                <a:lnTo>
                  <a:pt x="3856" y="3716"/>
                </a:lnTo>
                <a:lnTo>
                  <a:pt x="3865" y="3699"/>
                </a:lnTo>
                <a:lnTo>
                  <a:pt x="3872" y="3681"/>
                </a:lnTo>
                <a:lnTo>
                  <a:pt x="3878" y="3663"/>
                </a:lnTo>
                <a:lnTo>
                  <a:pt x="3884" y="3644"/>
                </a:lnTo>
                <a:lnTo>
                  <a:pt x="3888" y="3625"/>
                </a:lnTo>
                <a:lnTo>
                  <a:pt x="3892" y="3607"/>
                </a:lnTo>
                <a:lnTo>
                  <a:pt x="3894" y="3588"/>
                </a:lnTo>
                <a:lnTo>
                  <a:pt x="3895" y="3570"/>
                </a:lnTo>
                <a:lnTo>
                  <a:pt x="3896" y="3551"/>
                </a:lnTo>
                <a:lnTo>
                  <a:pt x="3895" y="3531"/>
                </a:lnTo>
                <a:lnTo>
                  <a:pt x="3894" y="3513"/>
                </a:lnTo>
                <a:lnTo>
                  <a:pt x="3892" y="3494"/>
                </a:lnTo>
                <a:lnTo>
                  <a:pt x="3888" y="3476"/>
                </a:lnTo>
                <a:lnTo>
                  <a:pt x="3884" y="3457"/>
                </a:lnTo>
                <a:lnTo>
                  <a:pt x="3878" y="3439"/>
                </a:lnTo>
                <a:lnTo>
                  <a:pt x="3872" y="3420"/>
                </a:lnTo>
                <a:lnTo>
                  <a:pt x="3865" y="3402"/>
                </a:lnTo>
                <a:lnTo>
                  <a:pt x="3856" y="3385"/>
                </a:lnTo>
                <a:lnTo>
                  <a:pt x="3848" y="3368"/>
                </a:lnTo>
                <a:lnTo>
                  <a:pt x="3838" y="3351"/>
                </a:lnTo>
                <a:lnTo>
                  <a:pt x="3826" y="3334"/>
                </a:lnTo>
                <a:lnTo>
                  <a:pt x="3814" y="3319"/>
                </a:lnTo>
                <a:lnTo>
                  <a:pt x="3802" y="3303"/>
                </a:lnTo>
                <a:lnTo>
                  <a:pt x="3787" y="3288"/>
                </a:lnTo>
                <a:lnTo>
                  <a:pt x="3772" y="3273"/>
                </a:lnTo>
                <a:lnTo>
                  <a:pt x="977" y="671"/>
                </a:lnTo>
                <a:lnTo>
                  <a:pt x="977" y="671"/>
                </a:lnTo>
                <a:lnTo>
                  <a:pt x="963" y="656"/>
                </a:lnTo>
                <a:lnTo>
                  <a:pt x="948" y="642"/>
                </a:lnTo>
                <a:lnTo>
                  <a:pt x="936" y="626"/>
                </a:lnTo>
                <a:lnTo>
                  <a:pt x="924" y="609"/>
                </a:lnTo>
                <a:lnTo>
                  <a:pt x="913" y="593"/>
                </a:lnTo>
                <a:lnTo>
                  <a:pt x="902" y="576"/>
                </a:lnTo>
                <a:lnTo>
                  <a:pt x="893" y="559"/>
                </a:lnTo>
                <a:lnTo>
                  <a:pt x="885" y="541"/>
                </a:lnTo>
                <a:lnTo>
                  <a:pt x="878" y="523"/>
                </a:lnTo>
                <a:lnTo>
                  <a:pt x="871" y="505"/>
                </a:lnTo>
                <a:lnTo>
                  <a:pt x="865" y="487"/>
                </a:lnTo>
                <a:lnTo>
                  <a:pt x="862" y="469"/>
                </a:lnTo>
                <a:lnTo>
                  <a:pt x="858" y="449"/>
                </a:lnTo>
                <a:lnTo>
                  <a:pt x="856" y="431"/>
                </a:lnTo>
                <a:lnTo>
                  <a:pt x="854" y="412"/>
                </a:lnTo>
                <a:lnTo>
                  <a:pt x="854" y="393"/>
                </a:lnTo>
                <a:lnTo>
                  <a:pt x="854" y="375"/>
                </a:lnTo>
                <a:lnTo>
                  <a:pt x="856" y="355"/>
                </a:lnTo>
                <a:lnTo>
                  <a:pt x="858" y="337"/>
                </a:lnTo>
                <a:lnTo>
                  <a:pt x="862" y="318"/>
                </a:lnTo>
                <a:lnTo>
                  <a:pt x="865" y="300"/>
                </a:lnTo>
                <a:lnTo>
                  <a:pt x="871" y="282"/>
                </a:lnTo>
                <a:lnTo>
                  <a:pt x="878" y="264"/>
                </a:lnTo>
                <a:lnTo>
                  <a:pt x="885" y="246"/>
                </a:lnTo>
                <a:lnTo>
                  <a:pt x="893" y="228"/>
                </a:lnTo>
                <a:lnTo>
                  <a:pt x="902" y="211"/>
                </a:lnTo>
                <a:lnTo>
                  <a:pt x="913" y="194"/>
                </a:lnTo>
                <a:lnTo>
                  <a:pt x="924" y="178"/>
                </a:lnTo>
                <a:lnTo>
                  <a:pt x="936" y="161"/>
                </a:lnTo>
                <a:lnTo>
                  <a:pt x="948" y="145"/>
                </a:lnTo>
                <a:lnTo>
                  <a:pt x="963" y="130"/>
                </a:lnTo>
                <a:lnTo>
                  <a:pt x="977" y="116"/>
                </a:lnTo>
                <a:lnTo>
                  <a:pt x="977" y="116"/>
                </a:lnTo>
                <a:lnTo>
                  <a:pt x="993" y="102"/>
                </a:lnTo>
                <a:lnTo>
                  <a:pt x="1010" y="88"/>
                </a:lnTo>
                <a:lnTo>
                  <a:pt x="1026" y="77"/>
                </a:lnTo>
                <a:lnTo>
                  <a:pt x="1044" y="66"/>
                </a:lnTo>
                <a:lnTo>
                  <a:pt x="1061" y="54"/>
                </a:lnTo>
                <a:lnTo>
                  <a:pt x="1079" y="45"/>
                </a:lnTo>
                <a:lnTo>
                  <a:pt x="1098" y="37"/>
                </a:lnTo>
                <a:lnTo>
                  <a:pt x="1117" y="30"/>
                </a:lnTo>
                <a:lnTo>
                  <a:pt x="1136" y="23"/>
                </a:lnTo>
                <a:lnTo>
                  <a:pt x="1156" y="17"/>
                </a:lnTo>
                <a:lnTo>
                  <a:pt x="1175" y="11"/>
                </a:lnTo>
                <a:lnTo>
                  <a:pt x="1195" y="8"/>
                </a:lnTo>
                <a:lnTo>
                  <a:pt x="1215" y="5"/>
                </a:lnTo>
                <a:lnTo>
                  <a:pt x="1235" y="2"/>
                </a:lnTo>
                <a:lnTo>
                  <a:pt x="1256" y="1"/>
                </a:lnTo>
                <a:lnTo>
                  <a:pt x="1276" y="0"/>
                </a:lnTo>
                <a:lnTo>
                  <a:pt x="1296" y="1"/>
                </a:lnTo>
                <a:lnTo>
                  <a:pt x="1316" y="2"/>
                </a:lnTo>
                <a:lnTo>
                  <a:pt x="1336" y="5"/>
                </a:lnTo>
                <a:lnTo>
                  <a:pt x="1356" y="8"/>
                </a:lnTo>
                <a:lnTo>
                  <a:pt x="1376" y="11"/>
                </a:lnTo>
                <a:lnTo>
                  <a:pt x="1395" y="17"/>
                </a:lnTo>
                <a:lnTo>
                  <a:pt x="1415" y="23"/>
                </a:lnTo>
                <a:lnTo>
                  <a:pt x="1434" y="30"/>
                </a:lnTo>
                <a:lnTo>
                  <a:pt x="1454" y="37"/>
                </a:lnTo>
                <a:lnTo>
                  <a:pt x="1472" y="45"/>
                </a:lnTo>
                <a:lnTo>
                  <a:pt x="1490" y="54"/>
                </a:lnTo>
                <a:lnTo>
                  <a:pt x="1508" y="66"/>
                </a:lnTo>
                <a:lnTo>
                  <a:pt x="1525" y="77"/>
                </a:lnTo>
                <a:lnTo>
                  <a:pt x="1542" y="88"/>
                </a:lnTo>
                <a:lnTo>
                  <a:pt x="1558" y="102"/>
                </a:lnTo>
                <a:lnTo>
                  <a:pt x="1574" y="116"/>
                </a:lnTo>
                <a:lnTo>
                  <a:pt x="3647" y="2046"/>
                </a:lnTo>
                <a:lnTo>
                  <a:pt x="3647" y="2046"/>
                </a:lnTo>
                <a:lnTo>
                  <a:pt x="3663" y="2059"/>
                </a:lnTo>
                <a:lnTo>
                  <a:pt x="3679" y="2073"/>
                </a:lnTo>
                <a:lnTo>
                  <a:pt x="3696" y="2085"/>
                </a:lnTo>
                <a:lnTo>
                  <a:pt x="3714" y="2097"/>
                </a:lnTo>
                <a:lnTo>
                  <a:pt x="3731" y="2107"/>
                </a:lnTo>
                <a:lnTo>
                  <a:pt x="3749" y="2116"/>
                </a:lnTo>
                <a:lnTo>
                  <a:pt x="3769" y="2125"/>
                </a:lnTo>
                <a:lnTo>
                  <a:pt x="3787" y="2132"/>
                </a:lnTo>
                <a:lnTo>
                  <a:pt x="3807" y="2139"/>
                </a:lnTo>
                <a:lnTo>
                  <a:pt x="3826" y="2145"/>
                </a:lnTo>
                <a:lnTo>
                  <a:pt x="3845" y="2150"/>
                </a:lnTo>
                <a:lnTo>
                  <a:pt x="3866" y="2153"/>
                </a:lnTo>
                <a:lnTo>
                  <a:pt x="3886" y="2157"/>
                </a:lnTo>
                <a:lnTo>
                  <a:pt x="3906" y="2159"/>
                </a:lnTo>
                <a:lnTo>
                  <a:pt x="3927" y="2160"/>
                </a:lnTo>
                <a:lnTo>
                  <a:pt x="3946" y="2161"/>
                </a:lnTo>
                <a:lnTo>
                  <a:pt x="8608" y="6490"/>
                </a:lnTo>
                <a:lnTo>
                  <a:pt x="4842" y="6490"/>
                </a:lnTo>
                <a:lnTo>
                  <a:pt x="124" y="2098"/>
                </a:lnTo>
                <a:lnTo>
                  <a:pt x="124" y="2098"/>
                </a:lnTo>
                <a:lnTo>
                  <a:pt x="109" y="2083"/>
                </a:lnTo>
                <a:lnTo>
                  <a:pt x="95" y="2068"/>
                </a:lnTo>
                <a:lnTo>
                  <a:pt x="83" y="2053"/>
                </a:lnTo>
                <a:lnTo>
                  <a:pt x="71" y="2036"/>
                </a:lnTo>
                <a:lnTo>
                  <a:pt x="60" y="2020"/>
                </a:lnTo>
                <a:lnTo>
                  <a:pt x="49" y="2003"/>
                </a:lnTo>
                <a:lnTo>
                  <a:pt x="40" y="1986"/>
                </a:lnTo>
                <a:lnTo>
                  <a:pt x="32" y="1968"/>
                </a:lnTo>
                <a:lnTo>
                  <a:pt x="24" y="1950"/>
                </a:lnTo>
                <a:lnTo>
                  <a:pt x="18" y="1931"/>
                </a:lnTo>
                <a:lnTo>
                  <a:pt x="12" y="1913"/>
                </a:lnTo>
                <a:lnTo>
                  <a:pt x="9" y="1895"/>
                </a:lnTo>
                <a:lnTo>
                  <a:pt x="5" y="1876"/>
                </a:lnTo>
                <a:lnTo>
                  <a:pt x="2" y="1858"/>
                </a:lnTo>
                <a:lnTo>
                  <a:pt x="1" y="1839"/>
                </a:lnTo>
                <a:lnTo>
                  <a:pt x="0" y="1821"/>
                </a:lnTo>
                <a:lnTo>
                  <a:pt x="1" y="1801"/>
                </a:lnTo>
                <a:lnTo>
                  <a:pt x="2" y="1782"/>
                </a:lnTo>
                <a:lnTo>
                  <a:pt x="5" y="1764"/>
                </a:lnTo>
                <a:lnTo>
                  <a:pt x="9" y="1745"/>
                </a:lnTo>
                <a:lnTo>
                  <a:pt x="12" y="1727"/>
                </a:lnTo>
                <a:lnTo>
                  <a:pt x="18" y="1709"/>
                </a:lnTo>
                <a:lnTo>
                  <a:pt x="24" y="1691"/>
                </a:lnTo>
                <a:lnTo>
                  <a:pt x="32" y="1672"/>
                </a:lnTo>
                <a:lnTo>
                  <a:pt x="40" y="1654"/>
                </a:lnTo>
                <a:lnTo>
                  <a:pt x="49" y="1637"/>
                </a:lnTo>
                <a:lnTo>
                  <a:pt x="60" y="1620"/>
                </a:lnTo>
                <a:lnTo>
                  <a:pt x="71" y="1605"/>
                </a:lnTo>
                <a:lnTo>
                  <a:pt x="83" y="1588"/>
                </a:lnTo>
                <a:lnTo>
                  <a:pt x="95" y="1572"/>
                </a:lnTo>
                <a:lnTo>
                  <a:pt x="109" y="1557"/>
                </a:lnTo>
                <a:lnTo>
                  <a:pt x="124" y="1542"/>
                </a:lnTo>
                <a:lnTo>
                  <a:pt x="124" y="154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R="0" lvl="0" indent="0" defTabSz="91435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2" name="Freeform 11">
            <a:extLst>
              <a:ext uri="{FF2B5EF4-FFF2-40B4-BE49-F238E27FC236}">
                <a16:creationId xmlns:a16="http://schemas.microsoft.com/office/drawing/2014/main" id="{1FD7B58B-7051-4851-A89B-46D392B7D476}"/>
              </a:ext>
            </a:extLst>
          </p:cNvPr>
          <p:cNvSpPr>
            <a:spLocks/>
          </p:cNvSpPr>
          <p:nvPr userDrawn="1"/>
        </p:nvSpPr>
        <p:spPr bwMode="auto">
          <a:xfrm flipH="1">
            <a:off x="8889076" y="0"/>
            <a:ext cx="1491119" cy="1314450"/>
          </a:xfrm>
          <a:custGeom>
            <a:avLst/>
            <a:gdLst>
              <a:gd name="T0" fmla="*/ 4922 w 5046"/>
              <a:gd name="T1" fmla="*/ 3468 h 4141"/>
              <a:gd name="T2" fmla="*/ 4951 w 5046"/>
              <a:gd name="T3" fmla="*/ 3498 h 4141"/>
              <a:gd name="T4" fmla="*/ 4977 w 5046"/>
              <a:gd name="T5" fmla="*/ 3530 h 4141"/>
              <a:gd name="T6" fmla="*/ 4997 w 5046"/>
              <a:gd name="T7" fmla="*/ 3564 h 4141"/>
              <a:gd name="T8" fmla="*/ 5016 w 5046"/>
              <a:gd name="T9" fmla="*/ 3598 h 4141"/>
              <a:gd name="T10" fmla="*/ 5029 w 5046"/>
              <a:gd name="T11" fmla="*/ 3634 h 4141"/>
              <a:gd name="T12" fmla="*/ 5039 w 5046"/>
              <a:gd name="T13" fmla="*/ 3671 h 4141"/>
              <a:gd name="T14" fmla="*/ 5045 w 5046"/>
              <a:gd name="T15" fmla="*/ 3709 h 4141"/>
              <a:gd name="T16" fmla="*/ 5046 w 5046"/>
              <a:gd name="T17" fmla="*/ 3746 h 4141"/>
              <a:gd name="T18" fmla="*/ 5045 w 5046"/>
              <a:gd name="T19" fmla="*/ 3785 h 4141"/>
              <a:gd name="T20" fmla="*/ 5039 w 5046"/>
              <a:gd name="T21" fmla="*/ 3822 h 4141"/>
              <a:gd name="T22" fmla="*/ 5029 w 5046"/>
              <a:gd name="T23" fmla="*/ 3859 h 4141"/>
              <a:gd name="T24" fmla="*/ 5016 w 5046"/>
              <a:gd name="T25" fmla="*/ 3894 h 4141"/>
              <a:gd name="T26" fmla="*/ 4997 w 5046"/>
              <a:gd name="T27" fmla="*/ 3929 h 4141"/>
              <a:gd name="T28" fmla="*/ 4977 w 5046"/>
              <a:gd name="T29" fmla="*/ 3963 h 4141"/>
              <a:gd name="T30" fmla="*/ 4951 w 5046"/>
              <a:gd name="T31" fmla="*/ 3995 h 4141"/>
              <a:gd name="T32" fmla="*/ 4922 w 5046"/>
              <a:gd name="T33" fmla="*/ 4026 h 4141"/>
              <a:gd name="T34" fmla="*/ 4922 w 5046"/>
              <a:gd name="T35" fmla="*/ 4026 h 4141"/>
              <a:gd name="T36" fmla="*/ 4891 w 5046"/>
              <a:gd name="T37" fmla="*/ 4052 h 4141"/>
              <a:gd name="T38" fmla="*/ 4857 w 5046"/>
              <a:gd name="T39" fmla="*/ 4075 h 4141"/>
              <a:gd name="T40" fmla="*/ 4820 w 5046"/>
              <a:gd name="T41" fmla="*/ 4096 h 4141"/>
              <a:gd name="T42" fmla="*/ 4782 w 5046"/>
              <a:gd name="T43" fmla="*/ 4112 h 4141"/>
              <a:gd name="T44" fmla="*/ 4743 w 5046"/>
              <a:gd name="T45" fmla="*/ 4124 h 4141"/>
              <a:gd name="T46" fmla="*/ 4705 w 5046"/>
              <a:gd name="T47" fmla="*/ 4133 h 4141"/>
              <a:gd name="T48" fmla="*/ 4663 w 5046"/>
              <a:gd name="T49" fmla="*/ 4139 h 4141"/>
              <a:gd name="T50" fmla="*/ 4623 w 5046"/>
              <a:gd name="T51" fmla="*/ 4141 h 4141"/>
              <a:gd name="T52" fmla="*/ 4583 w 5046"/>
              <a:gd name="T53" fmla="*/ 4139 h 4141"/>
              <a:gd name="T54" fmla="*/ 4543 w 5046"/>
              <a:gd name="T55" fmla="*/ 4133 h 4141"/>
              <a:gd name="T56" fmla="*/ 4503 w 5046"/>
              <a:gd name="T57" fmla="*/ 4124 h 4141"/>
              <a:gd name="T58" fmla="*/ 4464 w 5046"/>
              <a:gd name="T59" fmla="*/ 4112 h 4141"/>
              <a:gd name="T60" fmla="*/ 4426 w 5046"/>
              <a:gd name="T61" fmla="*/ 4096 h 4141"/>
              <a:gd name="T62" fmla="*/ 4391 w 5046"/>
              <a:gd name="T63" fmla="*/ 4075 h 4141"/>
              <a:gd name="T64" fmla="*/ 4356 w 5046"/>
              <a:gd name="T65" fmla="*/ 4052 h 4141"/>
              <a:gd name="T66" fmla="*/ 4324 w 5046"/>
              <a:gd name="T67" fmla="*/ 4026 h 4141"/>
              <a:gd name="T68" fmla="*/ 1197 w 5046"/>
              <a:gd name="T69" fmla="*/ 0 h 4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046" h="4141">
                <a:moveTo>
                  <a:pt x="4922" y="3468"/>
                </a:moveTo>
                <a:lnTo>
                  <a:pt x="4922" y="3468"/>
                </a:lnTo>
                <a:lnTo>
                  <a:pt x="4938" y="3483"/>
                </a:lnTo>
                <a:lnTo>
                  <a:pt x="4951" y="3498"/>
                </a:lnTo>
                <a:lnTo>
                  <a:pt x="4965" y="3514"/>
                </a:lnTo>
                <a:lnTo>
                  <a:pt x="4977" y="3530"/>
                </a:lnTo>
                <a:lnTo>
                  <a:pt x="4988" y="3547"/>
                </a:lnTo>
                <a:lnTo>
                  <a:pt x="4997" y="3564"/>
                </a:lnTo>
                <a:lnTo>
                  <a:pt x="5007" y="3581"/>
                </a:lnTo>
                <a:lnTo>
                  <a:pt x="5016" y="3598"/>
                </a:lnTo>
                <a:lnTo>
                  <a:pt x="5023" y="3616"/>
                </a:lnTo>
                <a:lnTo>
                  <a:pt x="5029" y="3634"/>
                </a:lnTo>
                <a:lnTo>
                  <a:pt x="5034" y="3653"/>
                </a:lnTo>
                <a:lnTo>
                  <a:pt x="5039" y="3671"/>
                </a:lnTo>
                <a:lnTo>
                  <a:pt x="5042" y="3691"/>
                </a:lnTo>
                <a:lnTo>
                  <a:pt x="5045" y="3709"/>
                </a:lnTo>
                <a:lnTo>
                  <a:pt x="5046" y="3728"/>
                </a:lnTo>
                <a:lnTo>
                  <a:pt x="5046" y="3746"/>
                </a:lnTo>
                <a:lnTo>
                  <a:pt x="5046" y="3765"/>
                </a:lnTo>
                <a:lnTo>
                  <a:pt x="5045" y="3785"/>
                </a:lnTo>
                <a:lnTo>
                  <a:pt x="5042" y="3803"/>
                </a:lnTo>
                <a:lnTo>
                  <a:pt x="5039" y="3822"/>
                </a:lnTo>
                <a:lnTo>
                  <a:pt x="5034" y="3840"/>
                </a:lnTo>
                <a:lnTo>
                  <a:pt x="5029" y="3859"/>
                </a:lnTo>
                <a:lnTo>
                  <a:pt x="5023" y="3877"/>
                </a:lnTo>
                <a:lnTo>
                  <a:pt x="5016" y="3894"/>
                </a:lnTo>
                <a:lnTo>
                  <a:pt x="5007" y="3912"/>
                </a:lnTo>
                <a:lnTo>
                  <a:pt x="4997" y="3929"/>
                </a:lnTo>
                <a:lnTo>
                  <a:pt x="4988" y="3946"/>
                </a:lnTo>
                <a:lnTo>
                  <a:pt x="4977" y="3963"/>
                </a:lnTo>
                <a:lnTo>
                  <a:pt x="4965" y="3979"/>
                </a:lnTo>
                <a:lnTo>
                  <a:pt x="4951" y="3995"/>
                </a:lnTo>
                <a:lnTo>
                  <a:pt x="4938" y="4011"/>
                </a:lnTo>
                <a:lnTo>
                  <a:pt x="4922" y="4026"/>
                </a:lnTo>
                <a:lnTo>
                  <a:pt x="4922" y="4026"/>
                </a:lnTo>
                <a:lnTo>
                  <a:pt x="4922" y="4026"/>
                </a:lnTo>
                <a:lnTo>
                  <a:pt x="4906" y="4039"/>
                </a:lnTo>
                <a:lnTo>
                  <a:pt x="4891" y="4052"/>
                </a:lnTo>
                <a:lnTo>
                  <a:pt x="4874" y="4064"/>
                </a:lnTo>
                <a:lnTo>
                  <a:pt x="4857" y="4075"/>
                </a:lnTo>
                <a:lnTo>
                  <a:pt x="4838" y="4086"/>
                </a:lnTo>
                <a:lnTo>
                  <a:pt x="4820" y="4096"/>
                </a:lnTo>
                <a:lnTo>
                  <a:pt x="4802" y="4104"/>
                </a:lnTo>
                <a:lnTo>
                  <a:pt x="4782" y="4112"/>
                </a:lnTo>
                <a:lnTo>
                  <a:pt x="4763" y="4118"/>
                </a:lnTo>
                <a:lnTo>
                  <a:pt x="4743" y="4124"/>
                </a:lnTo>
                <a:lnTo>
                  <a:pt x="4724" y="4130"/>
                </a:lnTo>
                <a:lnTo>
                  <a:pt x="4705" y="4133"/>
                </a:lnTo>
                <a:lnTo>
                  <a:pt x="4684" y="4136"/>
                </a:lnTo>
                <a:lnTo>
                  <a:pt x="4663" y="4139"/>
                </a:lnTo>
                <a:lnTo>
                  <a:pt x="4644" y="4140"/>
                </a:lnTo>
                <a:lnTo>
                  <a:pt x="4623" y="4141"/>
                </a:lnTo>
                <a:lnTo>
                  <a:pt x="4603" y="4140"/>
                </a:lnTo>
                <a:lnTo>
                  <a:pt x="4583" y="4139"/>
                </a:lnTo>
                <a:lnTo>
                  <a:pt x="4562" y="4136"/>
                </a:lnTo>
                <a:lnTo>
                  <a:pt x="4543" y="4133"/>
                </a:lnTo>
                <a:lnTo>
                  <a:pt x="4522" y="4130"/>
                </a:lnTo>
                <a:lnTo>
                  <a:pt x="4503" y="4124"/>
                </a:lnTo>
                <a:lnTo>
                  <a:pt x="4483" y="4118"/>
                </a:lnTo>
                <a:lnTo>
                  <a:pt x="4464" y="4112"/>
                </a:lnTo>
                <a:lnTo>
                  <a:pt x="4445" y="4104"/>
                </a:lnTo>
                <a:lnTo>
                  <a:pt x="4426" y="4096"/>
                </a:lnTo>
                <a:lnTo>
                  <a:pt x="4408" y="4086"/>
                </a:lnTo>
                <a:lnTo>
                  <a:pt x="4391" y="4075"/>
                </a:lnTo>
                <a:lnTo>
                  <a:pt x="4373" y="4064"/>
                </a:lnTo>
                <a:lnTo>
                  <a:pt x="4356" y="4052"/>
                </a:lnTo>
                <a:lnTo>
                  <a:pt x="4340" y="4039"/>
                </a:lnTo>
                <a:lnTo>
                  <a:pt x="4324" y="4026"/>
                </a:lnTo>
                <a:lnTo>
                  <a:pt x="0" y="0"/>
                </a:lnTo>
                <a:lnTo>
                  <a:pt x="1197" y="0"/>
                </a:lnTo>
                <a:lnTo>
                  <a:pt x="4922" y="3468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Freeform 9">
            <a:extLst>
              <a:ext uri="{FF2B5EF4-FFF2-40B4-BE49-F238E27FC236}">
                <a16:creationId xmlns:a16="http://schemas.microsoft.com/office/drawing/2014/main" id="{F37FB418-268C-4EE9-B0D1-2F2F12B6BB49}"/>
              </a:ext>
            </a:extLst>
          </p:cNvPr>
          <p:cNvSpPr>
            <a:spLocks/>
          </p:cNvSpPr>
          <p:nvPr userDrawn="1"/>
        </p:nvSpPr>
        <p:spPr bwMode="auto">
          <a:xfrm flipH="1">
            <a:off x="7813224" y="0"/>
            <a:ext cx="4228038" cy="4051300"/>
          </a:xfrm>
          <a:custGeom>
            <a:avLst/>
            <a:gdLst>
              <a:gd name="T0" fmla="*/ 6294 w 14307"/>
              <a:gd name="T1" fmla="*/ 4745 h 12762"/>
              <a:gd name="T2" fmla="*/ 14184 w 14307"/>
              <a:gd name="T3" fmla="*/ 12090 h 12762"/>
              <a:gd name="T4" fmla="*/ 14213 w 14307"/>
              <a:gd name="T5" fmla="*/ 12121 h 12762"/>
              <a:gd name="T6" fmla="*/ 14238 w 14307"/>
              <a:gd name="T7" fmla="*/ 12153 h 12762"/>
              <a:gd name="T8" fmla="*/ 14259 w 14307"/>
              <a:gd name="T9" fmla="*/ 12185 h 12762"/>
              <a:gd name="T10" fmla="*/ 14277 w 14307"/>
              <a:gd name="T11" fmla="*/ 12221 h 12762"/>
              <a:gd name="T12" fmla="*/ 14290 w 14307"/>
              <a:gd name="T13" fmla="*/ 12257 h 12762"/>
              <a:gd name="T14" fmla="*/ 14300 w 14307"/>
              <a:gd name="T15" fmla="*/ 12294 h 12762"/>
              <a:gd name="T16" fmla="*/ 14306 w 14307"/>
              <a:gd name="T17" fmla="*/ 12331 h 12762"/>
              <a:gd name="T18" fmla="*/ 14307 w 14307"/>
              <a:gd name="T19" fmla="*/ 12369 h 12762"/>
              <a:gd name="T20" fmla="*/ 14306 w 14307"/>
              <a:gd name="T21" fmla="*/ 12407 h 12762"/>
              <a:gd name="T22" fmla="*/ 14300 w 14307"/>
              <a:gd name="T23" fmla="*/ 12445 h 12762"/>
              <a:gd name="T24" fmla="*/ 14290 w 14307"/>
              <a:gd name="T25" fmla="*/ 12481 h 12762"/>
              <a:gd name="T26" fmla="*/ 14277 w 14307"/>
              <a:gd name="T27" fmla="*/ 12517 h 12762"/>
              <a:gd name="T28" fmla="*/ 14259 w 14307"/>
              <a:gd name="T29" fmla="*/ 12552 h 12762"/>
              <a:gd name="T30" fmla="*/ 14238 w 14307"/>
              <a:gd name="T31" fmla="*/ 12586 h 12762"/>
              <a:gd name="T32" fmla="*/ 14213 w 14307"/>
              <a:gd name="T33" fmla="*/ 12618 h 12762"/>
              <a:gd name="T34" fmla="*/ 14184 w 14307"/>
              <a:gd name="T35" fmla="*/ 12647 h 12762"/>
              <a:gd name="T36" fmla="*/ 14168 w 14307"/>
              <a:gd name="T37" fmla="*/ 12662 h 12762"/>
              <a:gd name="T38" fmla="*/ 14135 w 14307"/>
              <a:gd name="T39" fmla="*/ 12687 h 12762"/>
              <a:gd name="T40" fmla="*/ 14100 w 14307"/>
              <a:gd name="T41" fmla="*/ 12708 h 12762"/>
              <a:gd name="T42" fmla="*/ 14063 w 14307"/>
              <a:gd name="T43" fmla="*/ 12726 h 12762"/>
              <a:gd name="T44" fmla="*/ 14024 w 14307"/>
              <a:gd name="T45" fmla="*/ 12741 h 12762"/>
              <a:gd name="T46" fmla="*/ 13985 w 14307"/>
              <a:gd name="T47" fmla="*/ 12751 h 12762"/>
              <a:gd name="T48" fmla="*/ 13945 w 14307"/>
              <a:gd name="T49" fmla="*/ 12759 h 12762"/>
              <a:gd name="T50" fmla="*/ 13905 w 14307"/>
              <a:gd name="T51" fmla="*/ 12762 h 12762"/>
              <a:gd name="T52" fmla="*/ 13864 w 14307"/>
              <a:gd name="T53" fmla="*/ 12762 h 12762"/>
              <a:gd name="T54" fmla="*/ 13824 w 14307"/>
              <a:gd name="T55" fmla="*/ 12759 h 12762"/>
              <a:gd name="T56" fmla="*/ 13784 w 14307"/>
              <a:gd name="T57" fmla="*/ 12751 h 12762"/>
              <a:gd name="T58" fmla="*/ 13745 w 14307"/>
              <a:gd name="T59" fmla="*/ 12741 h 12762"/>
              <a:gd name="T60" fmla="*/ 13707 w 14307"/>
              <a:gd name="T61" fmla="*/ 12726 h 12762"/>
              <a:gd name="T62" fmla="*/ 13669 w 14307"/>
              <a:gd name="T63" fmla="*/ 12708 h 12762"/>
              <a:gd name="T64" fmla="*/ 13634 w 14307"/>
              <a:gd name="T65" fmla="*/ 12687 h 12762"/>
              <a:gd name="T66" fmla="*/ 13601 w 14307"/>
              <a:gd name="T67" fmla="*/ 12662 h 12762"/>
              <a:gd name="T68" fmla="*/ 6294 w 14307"/>
              <a:gd name="T69" fmla="*/ 5860 h 12762"/>
              <a:gd name="T70" fmla="*/ 0 w 14307"/>
              <a:gd name="T71" fmla="*/ 0 h 12762"/>
              <a:gd name="T72" fmla="*/ 6294 w 14307"/>
              <a:gd name="T73" fmla="*/ 4745 h 127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4307" h="12762">
                <a:moveTo>
                  <a:pt x="6294" y="4745"/>
                </a:moveTo>
                <a:lnTo>
                  <a:pt x="6294" y="4745"/>
                </a:lnTo>
                <a:lnTo>
                  <a:pt x="14184" y="12090"/>
                </a:lnTo>
                <a:lnTo>
                  <a:pt x="14184" y="12090"/>
                </a:lnTo>
                <a:lnTo>
                  <a:pt x="14199" y="12105"/>
                </a:lnTo>
                <a:lnTo>
                  <a:pt x="14213" y="12121"/>
                </a:lnTo>
                <a:lnTo>
                  <a:pt x="14226" y="12136"/>
                </a:lnTo>
                <a:lnTo>
                  <a:pt x="14238" y="12153"/>
                </a:lnTo>
                <a:lnTo>
                  <a:pt x="14249" y="12168"/>
                </a:lnTo>
                <a:lnTo>
                  <a:pt x="14259" y="12185"/>
                </a:lnTo>
                <a:lnTo>
                  <a:pt x="14269" y="12204"/>
                </a:lnTo>
                <a:lnTo>
                  <a:pt x="14277" y="12221"/>
                </a:lnTo>
                <a:lnTo>
                  <a:pt x="14284" y="12239"/>
                </a:lnTo>
                <a:lnTo>
                  <a:pt x="14290" y="12257"/>
                </a:lnTo>
                <a:lnTo>
                  <a:pt x="14295" y="12275"/>
                </a:lnTo>
                <a:lnTo>
                  <a:pt x="14300" y="12294"/>
                </a:lnTo>
                <a:lnTo>
                  <a:pt x="14304" y="12312"/>
                </a:lnTo>
                <a:lnTo>
                  <a:pt x="14306" y="12331"/>
                </a:lnTo>
                <a:lnTo>
                  <a:pt x="14307" y="12349"/>
                </a:lnTo>
                <a:lnTo>
                  <a:pt x="14307" y="12369"/>
                </a:lnTo>
                <a:lnTo>
                  <a:pt x="14307" y="12388"/>
                </a:lnTo>
                <a:lnTo>
                  <a:pt x="14306" y="12407"/>
                </a:lnTo>
                <a:lnTo>
                  <a:pt x="14304" y="12425"/>
                </a:lnTo>
                <a:lnTo>
                  <a:pt x="14300" y="12445"/>
                </a:lnTo>
                <a:lnTo>
                  <a:pt x="14295" y="12463"/>
                </a:lnTo>
                <a:lnTo>
                  <a:pt x="14290" y="12481"/>
                </a:lnTo>
                <a:lnTo>
                  <a:pt x="14284" y="12499"/>
                </a:lnTo>
                <a:lnTo>
                  <a:pt x="14277" y="12517"/>
                </a:lnTo>
                <a:lnTo>
                  <a:pt x="14269" y="12535"/>
                </a:lnTo>
                <a:lnTo>
                  <a:pt x="14259" y="12552"/>
                </a:lnTo>
                <a:lnTo>
                  <a:pt x="14249" y="12569"/>
                </a:lnTo>
                <a:lnTo>
                  <a:pt x="14238" y="12586"/>
                </a:lnTo>
                <a:lnTo>
                  <a:pt x="14226" y="12602"/>
                </a:lnTo>
                <a:lnTo>
                  <a:pt x="14213" y="12618"/>
                </a:lnTo>
                <a:lnTo>
                  <a:pt x="14199" y="12632"/>
                </a:lnTo>
                <a:lnTo>
                  <a:pt x="14184" y="12647"/>
                </a:lnTo>
                <a:lnTo>
                  <a:pt x="14184" y="12647"/>
                </a:lnTo>
                <a:lnTo>
                  <a:pt x="14168" y="12662"/>
                </a:lnTo>
                <a:lnTo>
                  <a:pt x="14152" y="12674"/>
                </a:lnTo>
                <a:lnTo>
                  <a:pt x="14135" y="12687"/>
                </a:lnTo>
                <a:lnTo>
                  <a:pt x="14118" y="12698"/>
                </a:lnTo>
                <a:lnTo>
                  <a:pt x="14100" y="12708"/>
                </a:lnTo>
                <a:lnTo>
                  <a:pt x="14081" y="12717"/>
                </a:lnTo>
                <a:lnTo>
                  <a:pt x="14063" y="12726"/>
                </a:lnTo>
                <a:lnTo>
                  <a:pt x="14044" y="12734"/>
                </a:lnTo>
                <a:lnTo>
                  <a:pt x="14024" y="12741"/>
                </a:lnTo>
                <a:lnTo>
                  <a:pt x="14005" y="12747"/>
                </a:lnTo>
                <a:lnTo>
                  <a:pt x="13985" y="12751"/>
                </a:lnTo>
                <a:lnTo>
                  <a:pt x="13966" y="12756"/>
                </a:lnTo>
                <a:lnTo>
                  <a:pt x="13945" y="12759"/>
                </a:lnTo>
                <a:lnTo>
                  <a:pt x="13926" y="12761"/>
                </a:lnTo>
                <a:lnTo>
                  <a:pt x="13905" y="12762"/>
                </a:lnTo>
                <a:lnTo>
                  <a:pt x="13885" y="12762"/>
                </a:lnTo>
                <a:lnTo>
                  <a:pt x="13864" y="12762"/>
                </a:lnTo>
                <a:lnTo>
                  <a:pt x="13844" y="12761"/>
                </a:lnTo>
                <a:lnTo>
                  <a:pt x="13824" y="12759"/>
                </a:lnTo>
                <a:lnTo>
                  <a:pt x="13804" y="12756"/>
                </a:lnTo>
                <a:lnTo>
                  <a:pt x="13784" y="12751"/>
                </a:lnTo>
                <a:lnTo>
                  <a:pt x="13764" y="12747"/>
                </a:lnTo>
                <a:lnTo>
                  <a:pt x="13745" y="12741"/>
                </a:lnTo>
                <a:lnTo>
                  <a:pt x="13725" y="12734"/>
                </a:lnTo>
                <a:lnTo>
                  <a:pt x="13707" y="12726"/>
                </a:lnTo>
                <a:lnTo>
                  <a:pt x="13688" y="12717"/>
                </a:lnTo>
                <a:lnTo>
                  <a:pt x="13669" y="12708"/>
                </a:lnTo>
                <a:lnTo>
                  <a:pt x="13652" y="12698"/>
                </a:lnTo>
                <a:lnTo>
                  <a:pt x="13634" y="12687"/>
                </a:lnTo>
                <a:lnTo>
                  <a:pt x="13617" y="12674"/>
                </a:lnTo>
                <a:lnTo>
                  <a:pt x="13601" y="12662"/>
                </a:lnTo>
                <a:lnTo>
                  <a:pt x="13586" y="12647"/>
                </a:lnTo>
                <a:lnTo>
                  <a:pt x="6294" y="5860"/>
                </a:lnTo>
                <a:lnTo>
                  <a:pt x="6294" y="5860"/>
                </a:lnTo>
                <a:lnTo>
                  <a:pt x="0" y="0"/>
                </a:lnTo>
                <a:lnTo>
                  <a:pt x="1196" y="0"/>
                </a:lnTo>
                <a:lnTo>
                  <a:pt x="6294" y="474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4" name="Freeform 13">
            <a:extLst>
              <a:ext uri="{FF2B5EF4-FFF2-40B4-BE49-F238E27FC236}">
                <a16:creationId xmlns:a16="http://schemas.microsoft.com/office/drawing/2014/main" id="{31728A6F-6395-4ADD-B8F2-C87B17D464C1}"/>
              </a:ext>
            </a:extLst>
          </p:cNvPr>
          <p:cNvSpPr>
            <a:spLocks/>
          </p:cNvSpPr>
          <p:nvPr userDrawn="1"/>
        </p:nvSpPr>
        <p:spPr bwMode="auto">
          <a:xfrm flipH="1">
            <a:off x="4731974" y="5837238"/>
            <a:ext cx="1207378" cy="1020763"/>
          </a:xfrm>
          <a:custGeom>
            <a:avLst/>
            <a:gdLst>
              <a:gd name="T0" fmla="*/ 121 w 4084"/>
              <a:gd name="T1" fmla="*/ 115 h 3217"/>
              <a:gd name="T2" fmla="*/ 153 w 4084"/>
              <a:gd name="T3" fmla="*/ 87 h 3217"/>
              <a:gd name="T4" fmla="*/ 187 w 4084"/>
              <a:gd name="T5" fmla="*/ 65 h 3217"/>
              <a:gd name="T6" fmla="*/ 222 w 4084"/>
              <a:gd name="T7" fmla="*/ 44 h 3217"/>
              <a:gd name="T8" fmla="*/ 260 w 4084"/>
              <a:gd name="T9" fmla="*/ 29 h 3217"/>
              <a:gd name="T10" fmla="*/ 297 w 4084"/>
              <a:gd name="T11" fmla="*/ 16 h 3217"/>
              <a:gd name="T12" fmla="*/ 336 w 4084"/>
              <a:gd name="T13" fmla="*/ 7 h 3217"/>
              <a:gd name="T14" fmla="*/ 376 w 4084"/>
              <a:gd name="T15" fmla="*/ 3 h 3217"/>
              <a:gd name="T16" fmla="*/ 416 w 4084"/>
              <a:gd name="T17" fmla="*/ 0 h 3217"/>
              <a:gd name="T18" fmla="*/ 456 w 4084"/>
              <a:gd name="T19" fmla="*/ 3 h 3217"/>
              <a:gd name="T20" fmla="*/ 495 w 4084"/>
              <a:gd name="T21" fmla="*/ 7 h 3217"/>
              <a:gd name="T22" fmla="*/ 534 w 4084"/>
              <a:gd name="T23" fmla="*/ 16 h 3217"/>
              <a:gd name="T24" fmla="*/ 573 w 4084"/>
              <a:gd name="T25" fmla="*/ 29 h 3217"/>
              <a:gd name="T26" fmla="*/ 610 w 4084"/>
              <a:gd name="T27" fmla="*/ 44 h 3217"/>
              <a:gd name="T28" fmla="*/ 646 w 4084"/>
              <a:gd name="T29" fmla="*/ 65 h 3217"/>
              <a:gd name="T30" fmla="*/ 679 w 4084"/>
              <a:gd name="T31" fmla="*/ 87 h 3217"/>
              <a:gd name="T32" fmla="*/ 710 w 4084"/>
              <a:gd name="T33" fmla="*/ 115 h 3217"/>
              <a:gd name="T34" fmla="*/ 2865 w 4084"/>
              <a:gd name="T35" fmla="*/ 3217 h 3217"/>
              <a:gd name="T36" fmla="*/ 121 w 4084"/>
              <a:gd name="T37" fmla="*/ 663 h 3217"/>
              <a:gd name="T38" fmla="*/ 93 w 4084"/>
              <a:gd name="T39" fmla="*/ 634 h 3217"/>
              <a:gd name="T40" fmla="*/ 68 w 4084"/>
              <a:gd name="T41" fmla="*/ 602 h 3217"/>
              <a:gd name="T42" fmla="*/ 47 w 4084"/>
              <a:gd name="T43" fmla="*/ 569 h 3217"/>
              <a:gd name="T44" fmla="*/ 30 w 4084"/>
              <a:gd name="T45" fmla="*/ 534 h 3217"/>
              <a:gd name="T46" fmla="*/ 17 w 4084"/>
              <a:gd name="T47" fmla="*/ 499 h 3217"/>
              <a:gd name="T48" fmla="*/ 7 w 4084"/>
              <a:gd name="T49" fmla="*/ 463 h 3217"/>
              <a:gd name="T50" fmla="*/ 1 w 4084"/>
              <a:gd name="T51" fmla="*/ 426 h 3217"/>
              <a:gd name="T52" fmla="*/ 0 w 4084"/>
              <a:gd name="T53" fmla="*/ 388 h 3217"/>
              <a:gd name="T54" fmla="*/ 1 w 4084"/>
              <a:gd name="T55" fmla="*/ 351 h 3217"/>
              <a:gd name="T56" fmla="*/ 7 w 4084"/>
              <a:gd name="T57" fmla="*/ 315 h 3217"/>
              <a:gd name="T58" fmla="*/ 17 w 4084"/>
              <a:gd name="T59" fmla="*/ 279 h 3217"/>
              <a:gd name="T60" fmla="*/ 30 w 4084"/>
              <a:gd name="T61" fmla="*/ 242 h 3217"/>
              <a:gd name="T62" fmla="*/ 47 w 4084"/>
              <a:gd name="T63" fmla="*/ 209 h 3217"/>
              <a:gd name="T64" fmla="*/ 68 w 4084"/>
              <a:gd name="T65" fmla="*/ 175 h 3217"/>
              <a:gd name="T66" fmla="*/ 93 w 4084"/>
              <a:gd name="T67" fmla="*/ 144 h 3217"/>
              <a:gd name="T68" fmla="*/ 121 w 4084"/>
              <a:gd name="T69" fmla="*/ 115 h 32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084" h="3217">
                <a:moveTo>
                  <a:pt x="121" y="115"/>
                </a:moveTo>
                <a:lnTo>
                  <a:pt x="121" y="115"/>
                </a:lnTo>
                <a:lnTo>
                  <a:pt x="137" y="100"/>
                </a:lnTo>
                <a:lnTo>
                  <a:pt x="153" y="87"/>
                </a:lnTo>
                <a:lnTo>
                  <a:pt x="170" y="76"/>
                </a:lnTo>
                <a:lnTo>
                  <a:pt x="187" y="65"/>
                </a:lnTo>
                <a:lnTo>
                  <a:pt x="204" y="55"/>
                </a:lnTo>
                <a:lnTo>
                  <a:pt x="222" y="44"/>
                </a:lnTo>
                <a:lnTo>
                  <a:pt x="240" y="37"/>
                </a:lnTo>
                <a:lnTo>
                  <a:pt x="260" y="29"/>
                </a:lnTo>
                <a:lnTo>
                  <a:pt x="278" y="22"/>
                </a:lnTo>
                <a:lnTo>
                  <a:pt x="297" y="16"/>
                </a:lnTo>
                <a:lnTo>
                  <a:pt x="317" y="12"/>
                </a:lnTo>
                <a:lnTo>
                  <a:pt x="336" y="7"/>
                </a:lnTo>
                <a:lnTo>
                  <a:pt x="357" y="5"/>
                </a:lnTo>
                <a:lnTo>
                  <a:pt x="376" y="3"/>
                </a:lnTo>
                <a:lnTo>
                  <a:pt x="396" y="1"/>
                </a:lnTo>
                <a:lnTo>
                  <a:pt x="416" y="0"/>
                </a:lnTo>
                <a:lnTo>
                  <a:pt x="436" y="1"/>
                </a:lnTo>
                <a:lnTo>
                  <a:pt x="456" y="3"/>
                </a:lnTo>
                <a:lnTo>
                  <a:pt x="476" y="5"/>
                </a:lnTo>
                <a:lnTo>
                  <a:pt x="495" y="7"/>
                </a:lnTo>
                <a:lnTo>
                  <a:pt x="515" y="12"/>
                </a:lnTo>
                <a:lnTo>
                  <a:pt x="534" y="16"/>
                </a:lnTo>
                <a:lnTo>
                  <a:pt x="554" y="22"/>
                </a:lnTo>
                <a:lnTo>
                  <a:pt x="573" y="29"/>
                </a:lnTo>
                <a:lnTo>
                  <a:pt x="591" y="37"/>
                </a:lnTo>
                <a:lnTo>
                  <a:pt x="610" y="44"/>
                </a:lnTo>
                <a:lnTo>
                  <a:pt x="628" y="55"/>
                </a:lnTo>
                <a:lnTo>
                  <a:pt x="646" y="65"/>
                </a:lnTo>
                <a:lnTo>
                  <a:pt x="663" y="76"/>
                </a:lnTo>
                <a:lnTo>
                  <a:pt x="679" y="87"/>
                </a:lnTo>
                <a:lnTo>
                  <a:pt x="696" y="100"/>
                </a:lnTo>
                <a:lnTo>
                  <a:pt x="710" y="115"/>
                </a:lnTo>
                <a:lnTo>
                  <a:pt x="4084" y="3217"/>
                </a:lnTo>
                <a:lnTo>
                  <a:pt x="2865" y="3217"/>
                </a:lnTo>
                <a:lnTo>
                  <a:pt x="121" y="663"/>
                </a:lnTo>
                <a:lnTo>
                  <a:pt x="121" y="663"/>
                </a:lnTo>
                <a:lnTo>
                  <a:pt x="106" y="649"/>
                </a:lnTo>
                <a:lnTo>
                  <a:pt x="93" y="634"/>
                </a:lnTo>
                <a:lnTo>
                  <a:pt x="80" y="618"/>
                </a:lnTo>
                <a:lnTo>
                  <a:pt x="68" y="602"/>
                </a:lnTo>
                <a:lnTo>
                  <a:pt x="57" y="586"/>
                </a:lnTo>
                <a:lnTo>
                  <a:pt x="47" y="569"/>
                </a:lnTo>
                <a:lnTo>
                  <a:pt x="37" y="552"/>
                </a:lnTo>
                <a:lnTo>
                  <a:pt x="30" y="534"/>
                </a:lnTo>
                <a:lnTo>
                  <a:pt x="23" y="517"/>
                </a:lnTo>
                <a:lnTo>
                  <a:pt x="17" y="499"/>
                </a:lnTo>
                <a:lnTo>
                  <a:pt x="12" y="481"/>
                </a:lnTo>
                <a:lnTo>
                  <a:pt x="7" y="463"/>
                </a:lnTo>
                <a:lnTo>
                  <a:pt x="3" y="445"/>
                </a:lnTo>
                <a:lnTo>
                  <a:pt x="1" y="426"/>
                </a:lnTo>
                <a:lnTo>
                  <a:pt x="0" y="408"/>
                </a:lnTo>
                <a:lnTo>
                  <a:pt x="0" y="388"/>
                </a:lnTo>
                <a:lnTo>
                  <a:pt x="0" y="370"/>
                </a:lnTo>
                <a:lnTo>
                  <a:pt x="1" y="351"/>
                </a:lnTo>
                <a:lnTo>
                  <a:pt x="3" y="333"/>
                </a:lnTo>
                <a:lnTo>
                  <a:pt x="7" y="315"/>
                </a:lnTo>
                <a:lnTo>
                  <a:pt x="12" y="297"/>
                </a:lnTo>
                <a:lnTo>
                  <a:pt x="17" y="279"/>
                </a:lnTo>
                <a:lnTo>
                  <a:pt x="23" y="261"/>
                </a:lnTo>
                <a:lnTo>
                  <a:pt x="30" y="242"/>
                </a:lnTo>
                <a:lnTo>
                  <a:pt x="37" y="226"/>
                </a:lnTo>
                <a:lnTo>
                  <a:pt x="47" y="209"/>
                </a:lnTo>
                <a:lnTo>
                  <a:pt x="57" y="192"/>
                </a:lnTo>
                <a:lnTo>
                  <a:pt x="68" y="175"/>
                </a:lnTo>
                <a:lnTo>
                  <a:pt x="80" y="159"/>
                </a:lnTo>
                <a:lnTo>
                  <a:pt x="93" y="144"/>
                </a:lnTo>
                <a:lnTo>
                  <a:pt x="106" y="128"/>
                </a:lnTo>
                <a:lnTo>
                  <a:pt x="121" y="115"/>
                </a:lnTo>
                <a:lnTo>
                  <a:pt x="121" y="115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6" name="Freeform 12">
            <a:extLst>
              <a:ext uri="{FF2B5EF4-FFF2-40B4-BE49-F238E27FC236}">
                <a16:creationId xmlns:a16="http://schemas.microsoft.com/office/drawing/2014/main" id="{EEC410DC-E17B-45FD-9F2B-576277B51C8E}"/>
              </a:ext>
            </a:extLst>
          </p:cNvPr>
          <p:cNvSpPr>
            <a:spLocks/>
          </p:cNvSpPr>
          <p:nvPr userDrawn="1"/>
        </p:nvSpPr>
        <p:spPr bwMode="auto">
          <a:xfrm flipH="1">
            <a:off x="4436410" y="685800"/>
            <a:ext cx="2252195" cy="2251075"/>
          </a:xfrm>
          <a:custGeom>
            <a:avLst/>
            <a:gdLst>
              <a:gd name="T0" fmla="*/ 124 w 7620"/>
              <a:gd name="T1" fmla="*/ 673 h 7094"/>
              <a:gd name="T2" fmla="*/ 81 w 7620"/>
              <a:gd name="T3" fmla="*/ 626 h 7094"/>
              <a:gd name="T4" fmla="*/ 48 w 7620"/>
              <a:gd name="T5" fmla="*/ 577 h 7094"/>
              <a:gd name="T6" fmla="*/ 24 w 7620"/>
              <a:gd name="T7" fmla="*/ 525 h 7094"/>
              <a:gd name="T8" fmla="*/ 8 w 7620"/>
              <a:gd name="T9" fmla="*/ 469 h 7094"/>
              <a:gd name="T10" fmla="*/ 1 w 7620"/>
              <a:gd name="T11" fmla="*/ 413 h 7094"/>
              <a:gd name="T12" fmla="*/ 2 w 7620"/>
              <a:gd name="T13" fmla="*/ 356 h 7094"/>
              <a:gd name="T14" fmla="*/ 12 w 7620"/>
              <a:gd name="T15" fmla="*/ 301 h 7094"/>
              <a:gd name="T16" fmla="*/ 31 w 7620"/>
              <a:gd name="T17" fmla="*/ 246 h 7094"/>
              <a:gd name="T18" fmla="*/ 58 w 7620"/>
              <a:gd name="T19" fmla="*/ 194 h 7094"/>
              <a:gd name="T20" fmla="*/ 95 w 7620"/>
              <a:gd name="T21" fmla="*/ 146 h 7094"/>
              <a:gd name="T22" fmla="*/ 124 w 7620"/>
              <a:gd name="T23" fmla="*/ 115 h 7094"/>
              <a:gd name="T24" fmla="*/ 172 w 7620"/>
              <a:gd name="T25" fmla="*/ 77 h 7094"/>
              <a:gd name="T26" fmla="*/ 226 w 7620"/>
              <a:gd name="T27" fmla="*/ 45 h 7094"/>
              <a:gd name="T28" fmla="*/ 283 w 7620"/>
              <a:gd name="T29" fmla="*/ 22 h 7094"/>
              <a:gd name="T30" fmla="*/ 343 w 7620"/>
              <a:gd name="T31" fmla="*/ 8 h 7094"/>
              <a:gd name="T32" fmla="*/ 402 w 7620"/>
              <a:gd name="T33" fmla="*/ 1 h 7094"/>
              <a:gd name="T34" fmla="*/ 464 w 7620"/>
              <a:gd name="T35" fmla="*/ 2 h 7094"/>
              <a:gd name="T36" fmla="*/ 524 w 7620"/>
              <a:gd name="T37" fmla="*/ 11 h 7094"/>
              <a:gd name="T38" fmla="*/ 582 w 7620"/>
              <a:gd name="T39" fmla="*/ 29 h 7094"/>
              <a:gd name="T40" fmla="*/ 638 w 7620"/>
              <a:gd name="T41" fmla="*/ 55 h 7094"/>
              <a:gd name="T42" fmla="*/ 690 w 7620"/>
              <a:gd name="T43" fmla="*/ 88 h 7094"/>
              <a:gd name="T44" fmla="*/ 7496 w 7620"/>
              <a:gd name="T45" fmla="*/ 6422 h 7094"/>
              <a:gd name="T46" fmla="*/ 7525 w 7620"/>
              <a:gd name="T47" fmla="*/ 6451 h 7094"/>
              <a:gd name="T48" fmla="*/ 7562 w 7620"/>
              <a:gd name="T49" fmla="*/ 6500 h 7094"/>
              <a:gd name="T50" fmla="*/ 7588 w 7620"/>
              <a:gd name="T51" fmla="*/ 6552 h 7094"/>
              <a:gd name="T52" fmla="*/ 7608 w 7620"/>
              <a:gd name="T53" fmla="*/ 6606 h 7094"/>
              <a:gd name="T54" fmla="*/ 7618 w 7620"/>
              <a:gd name="T55" fmla="*/ 6663 h 7094"/>
              <a:gd name="T56" fmla="*/ 7619 w 7620"/>
              <a:gd name="T57" fmla="*/ 6719 h 7094"/>
              <a:gd name="T58" fmla="*/ 7612 w 7620"/>
              <a:gd name="T59" fmla="*/ 6776 h 7094"/>
              <a:gd name="T60" fmla="*/ 7596 w 7620"/>
              <a:gd name="T61" fmla="*/ 6830 h 7094"/>
              <a:gd name="T62" fmla="*/ 7571 w 7620"/>
              <a:gd name="T63" fmla="*/ 6883 h 7094"/>
              <a:gd name="T64" fmla="*/ 7537 w 7620"/>
              <a:gd name="T65" fmla="*/ 6933 h 7094"/>
              <a:gd name="T66" fmla="*/ 7496 w 7620"/>
              <a:gd name="T67" fmla="*/ 6978 h 7094"/>
              <a:gd name="T68" fmla="*/ 7463 w 7620"/>
              <a:gd name="T69" fmla="*/ 7005 h 7094"/>
              <a:gd name="T70" fmla="*/ 7412 w 7620"/>
              <a:gd name="T71" fmla="*/ 7039 h 7094"/>
              <a:gd name="T72" fmla="*/ 7356 w 7620"/>
              <a:gd name="T73" fmla="*/ 7065 h 7094"/>
              <a:gd name="T74" fmla="*/ 7298 w 7620"/>
              <a:gd name="T75" fmla="*/ 7082 h 7094"/>
              <a:gd name="T76" fmla="*/ 7237 w 7620"/>
              <a:gd name="T77" fmla="*/ 7091 h 7094"/>
              <a:gd name="T78" fmla="*/ 7176 w 7620"/>
              <a:gd name="T79" fmla="*/ 7094 h 7094"/>
              <a:gd name="T80" fmla="*/ 7116 w 7620"/>
              <a:gd name="T81" fmla="*/ 7087 h 7094"/>
              <a:gd name="T82" fmla="*/ 7057 w 7620"/>
              <a:gd name="T83" fmla="*/ 7072 h 7094"/>
              <a:gd name="T84" fmla="*/ 7000 w 7620"/>
              <a:gd name="T85" fmla="*/ 7048 h 7094"/>
              <a:gd name="T86" fmla="*/ 6947 w 7620"/>
              <a:gd name="T87" fmla="*/ 7018 h 7094"/>
              <a:gd name="T88" fmla="*/ 6898 w 7620"/>
              <a:gd name="T89" fmla="*/ 6978 h 70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7620" h="7094">
                <a:moveTo>
                  <a:pt x="6898" y="6978"/>
                </a:moveTo>
                <a:lnTo>
                  <a:pt x="124" y="673"/>
                </a:lnTo>
                <a:lnTo>
                  <a:pt x="124" y="673"/>
                </a:lnTo>
                <a:lnTo>
                  <a:pt x="109" y="658"/>
                </a:lnTo>
                <a:lnTo>
                  <a:pt x="95" y="642"/>
                </a:lnTo>
                <a:lnTo>
                  <a:pt x="81" y="626"/>
                </a:lnTo>
                <a:lnTo>
                  <a:pt x="69" y="611"/>
                </a:lnTo>
                <a:lnTo>
                  <a:pt x="58" y="594"/>
                </a:lnTo>
                <a:lnTo>
                  <a:pt x="48" y="577"/>
                </a:lnTo>
                <a:lnTo>
                  <a:pt x="39" y="560"/>
                </a:lnTo>
                <a:lnTo>
                  <a:pt x="31" y="542"/>
                </a:lnTo>
                <a:lnTo>
                  <a:pt x="24" y="525"/>
                </a:lnTo>
                <a:lnTo>
                  <a:pt x="17" y="507"/>
                </a:lnTo>
                <a:lnTo>
                  <a:pt x="12" y="487"/>
                </a:lnTo>
                <a:lnTo>
                  <a:pt x="8" y="469"/>
                </a:lnTo>
                <a:lnTo>
                  <a:pt x="5" y="450"/>
                </a:lnTo>
                <a:lnTo>
                  <a:pt x="2" y="432"/>
                </a:lnTo>
                <a:lnTo>
                  <a:pt x="1" y="413"/>
                </a:lnTo>
                <a:lnTo>
                  <a:pt x="0" y="393"/>
                </a:lnTo>
                <a:lnTo>
                  <a:pt x="1" y="375"/>
                </a:lnTo>
                <a:lnTo>
                  <a:pt x="2" y="356"/>
                </a:lnTo>
                <a:lnTo>
                  <a:pt x="5" y="338"/>
                </a:lnTo>
                <a:lnTo>
                  <a:pt x="8" y="319"/>
                </a:lnTo>
                <a:lnTo>
                  <a:pt x="12" y="301"/>
                </a:lnTo>
                <a:lnTo>
                  <a:pt x="17" y="281"/>
                </a:lnTo>
                <a:lnTo>
                  <a:pt x="24" y="263"/>
                </a:lnTo>
                <a:lnTo>
                  <a:pt x="31" y="246"/>
                </a:lnTo>
                <a:lnTo>
                  <a:pt x="39" y="228"/>
                </a:lnTo>
                <a:lnTo>
                  <a:pt x="48" y="211"/>
                </a:lnTo>
                <a:lnTo>
                  <a:pt x="58" y="194"/>
                </a:lnTo>
                <a:lnTo>
                  <a:pt x="69" y="177"/>
                </a:lnTo>
                <a:lnTo>
                  <a:pt x="81" y="161"/>
                </a:lnTo>
                <a:lnTo>
                  <a:pt x="95" y="146"/>
                </a:lnTo>
                <a:lnTo>
                  <a:pt x="109" y="130"/>
                </a:lnTo>
                <a:lnTo>
                  <a:pt x="124" y="115"/>
                </a:lnTo>
                <a:lnTo>
                  <a:pt x="124" y="115"/>
                </a:lnTo>
                <a:lnTo>
                  <a:pt x="140" y="101"/>
                </a:lnTo>
                <a:lnTo>
                  <a:pt x="157" y="88"/>
                </a:lnTo>
                <a:lnTo>
                  <a:pt x="172" y="77"/>
                </a:lnTo>
                <a:lnTo>
                  <a:pt x="191" y="65"/>
                </a:lnTo>
                <a:lnTo>
                  <a:pt x="208" y="55"/>
                </a:lnTo>
                <a:lnTo>
                  <a:pt x="226" y="45"/>
                </a:lnTo>
                <a:lnTo>
                  <a:pt x="245" y="37"/>
                </a:lnTo>
                <a:lnTo>
                  <a:pt x="264" y="29"/>
                </a:lnTo>
                <a:lnTo>
                  <a:pt x="283" y="22"/>
                </a:lnTo>
                <a:lnTo>
                  <a:pt x="302" y="17"/>
                </a:lnTo>
                <a:lnTo>
                  <a:pt x="322" y="11"/>
                </a:lnTo>
                <a:lnTo>
                  <a:pt x="343" y="8"/>
                </a:lnTo>
                <a:lnTo>
                  <a:pt x="362" y="4"/>
                </a:lnTo>
                <a:lnTo>
                  <a:pt x="383" y="2"/>
                </a:lnTo>
                <a:lnTo>
                  <a:pt x="402" y="1"/>
                </a:lnTo>
                <a:lnTo>
                  <a:pt x="423" y="0"/>
                </a:lnTo>
                <a:lnTo>
                  <a:pt x="443" y="1"/>
                </a:lnTo>
                <a:lnTo>
                  <a:pt x="464" y="2"/>
                </a:lnTo>
                <a:lnTo>
                  <a:pt x="484" y="4"/>
                </a:lnTo>
                <a:lnTo>
                  <a:pt x="504" y="8"/>
                </a:lnTo>
                <a:lnTo>
                  <a:pt x="524" y="11"/>
                </a:lnTo>
                <a:lnTo>
                  <a:pt x="543" y="17"/>
                </a:lnTo>
                <a:lnTo>
                  <a:pt x="563" y="22"/>
                </a:lnTo>
                <a:lnTo>
                  <a:pt x="582" y="29"/>
                </a:lnTo>
                <a:lnTo>
                  <a:pt x="601" y="37"/>
                </a:lnTo>
                <a:lnTo>
                  <a:pt x="620" y="45"/>
                </a:lnTo>
                <a:lnTo>
                  <a:pt x="638" y="55"/>
                </a:lnTo>
                <a:lnTo>
                  <a:pt x="656" y="65"/>
                </a:lnTo>
                <a:lnTo>
                  <a:pt x="673" y="77"/>
                </a:lnTo>
                <a:lnTo>
                  <a:pt x="690" y="88"/>
                </a:lnTo>
                <a:lnTo>
                  <a:pt x="706" y="101"/>
                </a:lnTo>
                <a:lnTo>
                  <a:pt x="722" y="115"/>
                </a:lnTo>
                <a:lnTo>
                  <a:pt x="7496" y="6422"/>
                </a:lnTo>
                <a:lnTo>
                  <a:pt x="7496" y="6422"/>
                </a:lnTo>
                <a:lnTo>
                  <a:pt x="7511" y="6436"/>
                </a:lnTo>
                <a:lnTo>
                  <a:pt x="7525" y="6451"/>
                </a:lnTo>
                <a:lnTo>
                  <a:pt x="7537" y="6467"/>
                </a:lnTo>
                <a:lnTo>
                  <a:pt x="7550" y="6484"/>
                </a:lnTo>
                <a:lnTo>
                  <a:pt x="7562" y="6500"/>
                </a:lnTo>
                <a:lnTo>
                  <a:pt x="7571" y="6517"/>
                </a:lnTo>
                <a:lnTo>
                  <a:pt x="7581" y="6534"/>
                </a:lnTo>
                <a:lnTo>
                  <a:pt x="7588" y="6552"/>
                </a:lnTo>
                <a:lnTo>
                  <a:pt x="7596" y="6570"/>
                </a:lnTo>
                <a:lnTo>
                  <a:pt x="7602" y="6588"/>
                </a:lnTo>
                <a:lnTo>
                  <a:pt x="7608" y="6606"/>
                </a:lnTo>
                <a:lnTo>
                  <a:pt x="7612" y="6625"/>
                </a:lnTo>
                <a:lnTo>
                  <a:pt x="7615" y="6643"/>
                </a:lnTo>
                <a:lnTo>
                  <a:pt x="7618" y="6663"/>
                </a:lnTo>
                <a:lnTo>
                  <a:pt x="7619" y="6681"/>
                </a:lnTo>
                <a:lnTo>
                  <a:pt x="7620" y="6700"/>
                </a:lnTo>
                <a:lnTo>
                  <a:pt x="7619" y="6719"/>
                </a:lnTo>
                <a:lnTo>
                  <a:pt x="7618" y="6737"/>
                </a:lnTo>
                <a:lnTo>
                  <a:pt x="7615" y="6756"/>
                </a:lnTo>
                <a:lnTo>
                  <a:pt x="7612" y="6776"/>
                </a:lnTo>
                <a:lnTo>
                  <a:pt x="7608" y="6794"/>
                </a:lnTo>
                <a:lnTo>
                  <a:pt x="7602" y="6812"/>
                </a:lnTo>
                <a:lnTo>
                  <a:pt x="7596" y="6830"/>
                </a:lnTo>
                <a:lnTo>
                  <a:pt x="7588" y="6848"/>
                </a:lnTo>
                <a:lnTo>
                  <a:pt x="7581" y="6866"/>
                </a:lnTo>
                <a:lnTo>
                  <a:pt x="7571" y="6883"/>
                </a:lnTo>
                <a:lnTo>
                  <a:pt x="7562" y="6900"/>
                </a:lnTo>
                <a:lnTo>
                  <a:pt x="7550" y="6917"/>
                </a:lnTo>
                <a:lnTo>
                  <a:pt x="7537" y="6933"/>
                </a:lnTo>
                <a:lnTo>
                  <a:pt x="7525" y="6949"/>
                </a:lnTo>
                <a:lnTo>
                  <a:pt x="7511" y="6964"/>
                </a:lnTo>
                <a:lnTo>
                  <a:pt x="7496" y="6978"/>
                </a:lnTo>
                <a:lnTo>
                  <a:pt x="7496" y="6978"/>
                </a:lnTo>
                <a:lnTo>
                  <a:pt x="7480" y="6992"/>
                </a:lnTo>
                <a:lnTo>
                  <a:pt x="7463" y="7005"/>
                </a:lnTo>
                <a:lnTo>
                  <a:pt x="7447" y="7018"/>
                </a:lnTo>
                <a:lnTo>
                  <a:pt x="7429" y="7029"/>
                </a:lnTo>
                <a:lnTo>
                  <a:pt x="7412" y="7039"/>
                </a:lnTo>
                <a:lnTo>
                  <a:pt x="7394" y="7048"/>
                </a:lnTo>
                <a:lnTo>
                  <a:pt x="7375" y="7057"/>
                </a:lnTo>
                <a:lnTo>
                  <a:pt x="7356" y="7065"/>
                </a:lnTo>
                <a:lnTo>
                  <a:pt x="7337" y="7072"/>
                </a:lnTo>
                <a:lnTo>
                  <a:pt x="7317" y="7078"/>
                </a:lnTo>
                <a:lnTo>
                  <a:pt x="7298" y="7082"/>
                </a:lnTo>
                <a:lnTo>
                  <a:pt x="7277" y="7087"/>
                </a:lnTo>
                <a:lnTo>
                  <a:pt x="7258" y="7090"/>
                </a:lnTo>
                <a:lnTo>
                  <a:pt x="7237" y="7091"/>
                </a:lnTo>
                <a:lnTo>
                  <a:pt x="7217" y="7094"/>
                </a:lnTo>
                <a:lnTo>
                  <a:pt x="7197" y="7094"/>
                </a:lnTo>
                <a:lnTo>
                  <a:pt x="7176" y="7094"/>
                </a:lnTo>
                <a:lnTo>
                  <a:pt x="7156" y="7091"/>
                </a:lnTo>
                <a:lnTo>
                  <a:pt x="7136" y="7090"/>
                </a:lnTo>
                <a:lnTo>
                  <a:pt x="7116" y="7087"/>
                </a:lnTo>
                <a:lnTo>
                  <a:pt x="7096" y="7082"/>
                </a:lnTo>
                <a:lnTo>
                  <a:pt x="7077" y="7078"/>
                </a:lnTo>
                <a:lnTo>
                  <a:pt x="7057" y="7072"/>
                </a:lnTo>
                <a:lnTo>
                  <a:pt x="7038" y="7065"/>
                </a:lnTo>
                <a:lnTo>
                  <a:pt x="7018" y="7057"/>
                </a:lnTo>
                <a:lnTo>
                  <a:pt x="7000" y="7048"/>
                </a:lnTo>
                <a:lnTo>
                  <a:pt x="6982" y="7039"/>
                </a:lnTo>
                <a:lnTo>
                  <a:pt x="6964" y="7029"/>
                </a:lnTo>
                <a:lnTo>
                  <a:pt x="6947" y="7018"/>
                </a:lnTo>
                <a:lnTo>
                  <a:pt x="6930" y="7005"/>
                </a:lnTo>
                <a:lnTo>
                  <a:pt x="6914" y="6992"/>
                </a:lnTo>
                <a:lnTo>
                  <a:pt x="6898" y="6978"/>
                </a:lnTo>
                <a:lnTo>
                  <a:pt x="6898" y="697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7" name="Freeform 10">
            <a:extLst>
              <a:ext uri="{FF2B5EF4-FFF2-40B4-BE49-F238E27FC236}">
                <a16:creationId xmlns:a16="http://schemas.microsoft.com/office/drawing/2014/main" id="{85B6ADA5-6E33-4710-A91A-875421CC0EAF}"/>
              </a:ext>
            </a:extLst>
          </p:cNvPr>
          <p:cNvSpPr>
            <a:spLocks/>
          </p:cNvSpPr>
          <p:nvPr userDrawn="1"/>
        </p:nvSpPr>
        <p:spPr bwMode="auto">
          <a:xfrm flipH="1">
            <a:off x="5204876" y="0"/>
            <a:ext cx="1476341" cy="1270000"/>
          </a:xfrm>
          <a:custGeom>
            <a:avLst/>
            <a:gdLst>
              <a:gd name="T0" fmla="*/ 4855 w 4991"/>
              <a:gd name="T1" fmla="*/ 3261 h 4001"/>
              <a:gd name="T2" fmla="*/ 4887 w 4991"/>
              <a:gd name="T3" fmla="*/ 3294 h 4001"/>
              <a:gd name="T4" fmla="*/ 4915 w 4991"/>
              <a:gd name="T5" fmla="*/ 3329 h 4001"/>
              <a:gd name="T6" fmla="*/ 4938 w 4991"/>
              <a:gd name="T7" fmla="*/ 3366 h 4001"/>
              <a:gd name="T8" fmla="*/ 4957 w 4991"/>
              <a:gd name="T9" fmla="*/ 3404 h 4001"/>
              <a:gd name="T10" fmla="*/ 4972 w 4991"/>
              <a:gd name="T11" fmla="*/ 3444 h 4001"/>
              <a:gd name="T12" fmla="*/ 4983 w 4991"/>
              <a:gd name="T13" fmla="*/ 3485 h 4001"/>
              <a:gd name="T14" fmla="*/ 4990 w 4991"/>
              <a:gd name="T15" fmla="*/ 3526 h 4001"/>
              <a:gd name="T16" fmla="*/ 4991 w 4991"/>
              <a:gd name="T17" fmla="*/ 3567 h 4001"/>
              <a:gd name="T18" fmla="*/ 4990 w 4991"/>
              <a:gd name="T19" fmla="*/ 3609 h 4001"/>
              <a:gd name="T20" fmla="*/ 4983 w 4991"/>
              <a:gd name="T21" fmla="*/ 3650 h 4001"/>
              <a:gd name="T22" fmla="*/ 4972 w 4991"/>
              <a:gd name="T23" fmla="*/ 3691 h 4001"/>
              <a:gd name="T24" fmla="*/ 4957 w 4991"/>
              <a:gd name="T25" fmla="*/ 3730 h 4001"/>
              <a:gd name="T26" fmla="*/ 4938 w 4991"/>
              <a:gd name="T27" fmla="*/ 3769 h 4001"/>
              <a:gd name="T28" fmla="*/ 4915 w 4991"/>
              <a:gd name="T29" fmla="*/ 3806 h 4001"/>
              <a:gd name="T30" fmla="*/ 4887 w 4991"/>
              <a:gd name="T31" fmla="*/ 3841 h 4001"/>
              <a:gd name="T32" fmla="*/ 4855 w 4991"/>
              <a:gd name="T33" fmla="*/ 3874 h 4001"/>
              <a:gd name="T34" fmla="*/ 4838 w 4991"/>
              <a:gd name="T35" fmla="*/ 3890 h 4001"/>
              <a:gd name="T36" fmla="*/ 4802 w 4991"/>
              <a:gd name="T37" fmla="*/ 3917 h 4001"/>
              <a:gd name="T38" fmla="*/ 4763 w 4991"/>
              <a:gd name="T39" fmla="*/ 3941 h 4001"/>
              <a:gd name="T40" fmla="*/ 4722 w 4991"/>
              <a:gd name="T41" fmla="*/ 3961 h 4001"/>
              <a:gd name="T42" fmla="*/ 4680 w 4991"/>
              <a:gd name="T43" fmla="*/ 3977 h 4001"/>
              <a:gd name="T44" fmla="*/ 4637 w 4991"/>
              <a:gd name="T45" fmla="*/ 3989 h 4001"/>
              <a:gd name="T46" fmla="*/ 4593 w 4991"/>
              <a:gd name="T47" fmla="*/ 3997 h 4001"/>
              <a:gd name="T48" fmla="*/ 4548 w 4991"/>
              <a:gd name="T49" fmla="*/ 4001 h 4001"/>
              <a:gd name="T50" fmla="*/ 4503 w 4991"/>
              <a:gd name="T51" fmla="*/ 4001 h 4001"/>
              <a:gd name="T52" fmla="*/ 4459 w 4991"/>
              <a:gd name="T53" fmla="*/ 3997 h 4001"/>
              <a:gd name="T54" fmla="*/ 4414 w 4991"/>
              <a:gd name="T55" fmla="*/ 3989 h 4001"/>
              <a:gd name="T56" fmla="*/ 4372 w 4991"/>
              <a:gd name="T57" fmla="*/ 3977 h 4001"/>
              <a:gd name="T58" fmla="*/ 4329 w 4991"/>
              <a:gd name="T59" fmla="*/ 3961 h 4001"/>
              <a:gd name="T60" fmla="*/ 4289 w 4991"/>
              <a:gd name="T61" fmla="*/ 3941 h 4001"/>
              <a:gd name="T62" fmla="*/ 4250 w 4991"/>
              <a:gd name="T63" fmla="*/ 3917 h 4001"/>
              <a:gd name="T64" fmla="*/ 4214 w 4991"/>
              <a:gd name="T65" fmla="*/ 3890 h 4001"/>
              <a:gd name="T66" fmla="*/ 0 w 4991"/>
              <a:gd name="T67" fmla="*/ 0 h 4001"/>
              <a:gd name="T68" fmla="*/ 4855 w 4991"/>
              <a:gd name="T69" fmla="*/ 3261 h 40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991" h="4001">
                <a:moveTo>
                  <a:pt x="4855" y="3261"/>
                </a:moveTo>
                <a:lnTo>
                  <a:pt x="4855" y="3261"/>
                </a:lnTo>
                <a:lnTo>
                  <a:pt x="4872" y="3277"/>
                </a:lnTo>
                <a:lnTo>
                  <a:pt x="4887" y="3294"/>
                </a:lnTo>
                <a:lnTo>
                  <a:pt x="4902" y="3311"/>
                </a:lnTo>
                <a:lnTo>
                  <a:pt x="4915" y="3329"/>
                </a:lnTo>
                <a:lnTo>
                  <a:pt x="4927" y="3347"/>
                </a:lnTo>
                <a:lnTo>
                  <a:pt x="4938" y="3366"/>
                </a:lnTo>
                <a:lnTo>
                  <a:pt x="4949" y="3384"/>
                </a:lnTo>
                <a:lnTo>
                  <a:pt x="4957" y="3404"/>
                </a:lnTo>
                <a:lnTo>
                  <a:pt x="4966" y="3424"/>
                </a:lnTo>
                <a:lnTo>
                  <a:pt x="4972" y="3444"/>
                </a:lnTo>
                <a:lnTo>
                  <a:pt x="4978" y="3464"/>
                </a:lnTo>
                <a:lnTo>
                  <a:pt x="4983" y="3485"/>
                </a:lnTo>
                <a:lnTo>
                  <a:pt x="4987" y="3505"/>
                </a:lnTo>
                <a:lnTo>
                  <a:pt x="4990" y="3526"/>
                </a:lnTo>
                <a:lnTo>
                  <a:pt x="4991" y="3547"/>
                </a:lnTo>
                <a:lnTo>
                  <a:pt x="4991" y="3567"/>
                </a:lnTo>
                <a:lnTo>
                  <a:pt x="4991" y="3588"/>
                </a:lnTo>
                <a:lnTo>
                  <a:pt x="4990" y="3609"/>
                </a:lnTo>
                <a:lnTo>
                  <a:pt x="4987" y="3630"/>
                </a:lnTo>
                <a:lnTo>
                  <a:pt x="4983" y="3650"/>
                </a:lnTo>
                <a:lnTo>
                  <a:pt x="4978" y="3670"/>
                </a:lnTo>
                <a:lnTo>
                  <a:pt x="4972" y="3691"/>
                </a:lnTo>
                <a:lnTo>
                  <a:pt x="4966" y="3711"/>
                </a:lnTo>
                <a:lnTo>
                  <a:pt x="4957" y="3730"/>
                </a:lnTo>
                <a:lnTo>
                  <a:pt x="4949" y="3750"/>
                </a:lnTo>
                <a:lnTo>
                  <a:pt x="4938" y="3769"/>
                </a:lnTo>
                <a:lnTo>
                  <a:pt x="4927" y="3788"/>
                </a:lnTo>
                <a:lnTo>
                  <a:pt x="4915" y="3806"/>
                </a:lnTo>
                <a:lnTo>
                  <a:pt x="4902" y="3824"/>
                </a:lnTo>
                <a:lnTo>
                  <a:pt x="4887" y="3841"/>
                </a:lnTo>
                <a:lnTo>
                  <a:pt x="4872" y="3858"/>
                </a:lnTo>
                <a:lnTo>
                  <a:pt x="4855" y="3874"/>
                </a:lnTo>
                <a:lnTo>
                  <a:pt x="4855" y="3874"/>
                </a:lnTo>
                <a:lnTo>
                  <a:pt x="4838" y="3890"/>
                </a:lnTo>
                <a:lnTo>
                  <a:pt x="4820" y="3903"/>
                </a:lnTo>
                <a:lnTo>
                  <a:pt x="4802" y="3917"/>
                </a:lnTo>
                <a:lnTo>
                  <a:pt x="4782" y="3929"/>
                </a:lnTo>
                <a:lnTo>
                  <a:pt x="4763" y="3941"/>
                </a:lnTo>
                <a:lnTo>
                  <a:pt x="4742" y="3952"/>
                </a:lnTo>
                <a:lnTo>
                  <a:pt x="4722" y="3961"/>
                </a:lnTo>
                <a:lnTo>
                  <a:pt x="4701" y="3969"/>
                </a:lnTo>
                <a:lnTo>
                  <a:pt x="4680" y="3977"/>
                </a:lnTo>
                <a:lnTo>
                  <a:pt x="4658" y="3984"/>
                </a:lnTo>
                <a:lnTo>
                  <a:pt x="4637" y="3989"/>
                </a:lnTo>
                <a:lnTo>
                  <a:pt x="4615" y="3993"/>
                </a:lnTo>
                <a:lnTo>
                  <a:pt x="4593" y="3997"/>
                </a:lnTo>
                <a:lnTo>
                  <a:pt x="4570" y="4000"/>
                </a:lnTo>
                <a:lnTo>
                  <a:pt x="4548" y="4001"/>
                </a:lnTo>
                <a:lnTo>
                  <a:pt x="4526" y="4001"/>
                </a:lnTo>
                <a:lnTo>
                  <a:pt x="4503" y="4001"/>
                </a:lnTo>
                <a:lnTo>
                  <a:pt x="4481" y="4000"/>
                </a:lnTo>
                <a:lnTo>
                  <a:pt x="4459" y="3997"/>
                </a:lnTo>
                <a:lnTo>
                  <a:pt x="4436" y="3993"/>
                </a:lnTo>
                <a:lnTo>
                  <a:pt x="4414" y="3989"/>
                </a:lnTo>
                <a:lnTo>
                  <a:pt x="4394" y="3984"/>
                </a:lnTo>
                <a:lnTo>
                  <a:pt x="4372" y="3977"/>
                </a:lnTo>
                <a:lnTo>
                  <a:pt x="4350" y="3969"/>
                </a:lnTo>
                <a:lnTo>
                  <a:pt x="4329" y="3961"/>
                </a:lnTo>
                <a:lnTo>
                  <a:pt x="4308" y="3952"/>
                </a:lnTo>
                <a:lnTo>
                  <a:pt x="4289" y="3941"/>
                </a:lnTo>
                <a:lnTo>
                  <a:pt x="4270" y="3929"/>
                </a:lnTo>
                <a:lnTo>
                  <a:pt x="4250" y="3917"/>
                </a:lnTo>
                <a:lnTo>
                  <a:pt x="4232" y="3903"/>
                </a:lnTo>
                <a:lnTo>
                  <a:pt x="4214" y="3890"/>
                </a:lnTo>
                <a:lnTo>
                  <a:pt x="4197" y="3874"/>
                </a:lnTo>
                <a:lnTo>
                  <a:pt x="0" y="0"/>
                </a:lnTo>
                <a:lnTo>
                  <a:pt x="1359" y="0"/>
                </a:lnTo>
                <a:lnTo>
                  <a:pt x="4855" y="326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2" name="Title 21">
            <a:extLst>
              <a:ext uri="{FF2B5EF4-FFF2-40B4-BE49-F238E27FC236}">
                <a16:creationId xmlns:a16="http://schemas.microsoft.com/office/drawing/2014/main" id="{C7738B3F-CE6F-42B3-BE6A-76A9AD8B1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2593" y="4065150"/>
            <a:ext cx="3445982" cy="3416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>
              <a:defRPr lang="en-US" sz="1800" b="0" dirty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1pPr>
          </a:lstStyle>
          <a:p>
            <a:pPr marL="228600" lvl="0" indent="-228600" defTabSz="411163" eaLnBrk="0" fontAlgn="base" hangingPunct="0">
              <a:spcAft>
                <a:spcPct val="0"/>
              </a:spcAft>
              <a:buFont typeface="Arial" panose="020B0604020202020204" pitchFamily="34" charset="0"/>
            </a:pPr>
            <a:r>
              <a:rPr lang="en-US"/>
              <a:t>Presenter Nam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EA7D0E3-D319-4C53-BD17-5A410FFAF6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92592" y="3260848"/>
            <a:ext cx="3638895" cy="59093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>
            <a:lvl1pPr marL="0" indent="0">
              <a:buNone/>
              <a:defRPr lang="en-US" sz="3600" b="1" dirty="0">
                <a:ln>
                  <a:noFill/>
                </a:ln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</a:lstStyle>
          <a:p>
            <a:pPr marL="228600" lvl="0" indent="-228600" defTabSz="4111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Titl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9839C3A3-4422-40F9-A7EB-B37293AB47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93" y="4746334"/>
            <a:ext cx="2437517" cy="2862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>
              <a:buNone/>
              <a:defRPr lang="en-US" sz="1400" b="0" i="0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457200" indent="0">
              <a:buNone/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228600" lvl="0" indent="-228600" defTabSz="4111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/>
              <a:t>Month/Day/Year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17E936A-9D02-4222-8F71-3E98B54C6727}"/>
              </a:ext>
            </a:extLst>
          </p:cNvPr>
          <p:cNvGrpSpPr/>
          <p:nvPr/>
        </p:nvGrpSpPr>
        <p:grpSpPr>
          <a:xfrm>
            <a:off x="0" y="6750000"/>
            <a:ext cx="12192000" cy="108000"/>
            <a:chOff x="0" y="6738937"/>
            <a:chExt cx="12192000" cy="119063"/>
          </a:xfrm>
        </p:grpSpPr>
        <p:sp>
          <p:nvSpPr>
            <p:cNvPr id="13" name="Rectangle 3">
              <a:extLst>
                <a:ext uri="{FF2B5EF4-FFF2-40B4-BE49-F238E27FC236}">
                  <a16:creationId xmlns:a16="http://schemas.microsoft.com/office/drawing/2014/main" id="{90B9E5BA-5188-4B41-8A51-04310C82962B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974469" y="4764469"/>
              <a:ext cx="119062" cy="406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14" name="Rectangle 4">
              <a:extLst>
                <a:ext uri="{FF2B5EF4-FFF2-40B4-BE49-F238E27FC236}">
                  <a16:creationId xmlns:a16="http://schemas.microsoft.com/office/drawing/2014/main" id="{583781AC-5868-49DF-B257-43B2BF5DE794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036469" y="4764469"/>
              <a:ext cx="119062" cy="406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15" name="Rectangle 5">
              <a:extLst>
                <a:ext uri="{FF2B5EF4-FFF2-40B4-BE49-F238E27FC236}">
                  <a16:creationId xmlns:a16="http://schemas.microsoft.com/office/drawing/2014/main" id="{9632DEA9-C66C-490A-8FA7-C3EBBA31287D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098469" y="4764468"/>
              <a:ext cx="119062" cy="4068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</p:grpSp>
      <p:pic>
        <p:nvPicPr>
          <p:cNvPr id="40" name="Picture 39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7001511A-9B6F-4243-A3E9-C8C41104D84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7999" y="6166612"/>
            <a:ext cx="1754644" cy="376428"/>
          </a:xfrm>
          <a:prstGeom prst="rect">
            <a:avLst/>
          </a:prstGeom>
        </p:spPr>
      </p:pic>
      <p:pic>
        <p:nvPicPr>
          <p:cNvPr id="41" name="Picture 40" descr="A close up of a logo&#10;&#10;Description generated with high confidence">
            <a:extLst>
              <a:ext uri="{FF2B5EF4-FFF2-40B4-BE49-F238E27FC236}">
                <a16:creationId xmlns:a16="http://schemas.microsoft.com/office/drawing/2014/main" id="{BD2820F5-FFA4-4ACB-91C2-60F1AB789A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594" y="362627"/>
            <a:ext cx="3388090" cy="1041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11544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716E6803-9265-4CDB-8B72-31800975125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104"/>
          <a:stretch/>
        </p:blipFill>
        <p:spPr>
          <a:xfrm>
            <a:off x="5492496" y="6369197"/>
            <a:ext cx="1207008" cy="263243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6C56176-9996-43BF-BCEB-529B35555637}"/>
              </a:ext>
            </a:extLst>
          </p:cNvPr>
          <p:cNvSpPr txBox="1"/>
          <p:nvPr/>
        </p:nvSpPr>
        <p:spPr>
          <a:xfrm>
            <a:off x="11803859" y="6500813"/>
            <a:ext cx="166688" cy="20005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5395" tIns="25395" rIns="25395" bIns="25395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defRPr sz="700" b="0">
                <a:solidFill>
                  <a:srgbClr val="52555D"/>
                </a:solidFill>
                <a:latin typeface="Calibri" panose="020F0502020204030204" pitchFamily="34" charset="0"/>
              </a:defRPr>
            </a:lvl1pPr>
          </a:lstStyle>
          <a:p>
            <a:pPr lvl="0"/>
            <a:fld id="{97241006-ECD6-4F06-AF28-5ADAA32A8463}" type="slidenum">
              <a:rPr lang="en-US" sz="800" dirty="0" smtClean="0"/>
              <a:t>‹#›</a:t>
            </a:fld>
            <a:endParaRPr lang="en-US" sz="80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6728575E-8361-4B3E-986B-088240A0B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7888" y="285178"/>
            <a:ext cx="11621212" cy="510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800" b="0" baseline="0">
                <a:solidFill>
                  <a:schemeClr val="accent3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Segoe UI" panose="020B0502040204020203" pitchFamily="34" charset="0"/>
                <a:sym typeface="Helvetica Neue Medium" pitchFamily="6" charset="0"/>
              </a:defRPr>
            </a:lvl1pPr>
          </a:lstStyle>
          <a:p>
            <a:pPr lvl="0" defTabSz="411163" eaLnBrk="0" fontAlgn="base" hangingPunct="0">
              <a:spcAft>
                <a:spcPct val="0"/>
              </a:spcAft>
            </a:pPr>
            <a:r>
              <a:rPr lang="en-US"/>
              <a:t>Slide Title goes here</a:t>
            </a:r>
          </a:p>
        </p:txBody>
      </p:sp>
      <p:sp>
        <p:nvSpPr>
          <p:cNvPr id="13" name="Slide Number Placeholder 32">
            <a:extLst>
              <a:ext uri="{FF2B5EF4-FFF2-40B4-BE49-F238E27FC236}">
                <a16:creationId xmlns:a16="http://schemas.microsoft.com/office/drawing/2014/main" id="{04918F1D-0731-4965-A75B-883089B34B73}"/>
              </a:ext>
            </a:extLst>
          </p:cNvPr>
          <p:cNvSpPr txBox="1">
            <a:spLocks/>
          </p:cNvSpPr>
          <p:nvPr/>
        </p:nvSpPr>
        <p:spPr>
          <a:xfrm>
            <a:off x="358515" y="6539285"/>
            <a:ext cx="3201704" cy="12311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en-US" sz="800">
                <a:solidFill>
                  <a:schemeClr val="accent4"/>
                </a:solidFill>
                <a:latin typeface="+mn-lt"/>
              </a:rPr>
              <a:t>© 2020 Fractal Analytics Inc. All rights reserved | Confidential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DD12A3C-A9CF-4F0F-82D4-2D304936FA64}"/>
              </a:ext>
            </a:extLst>
          </p:cNvPr>
          <p:cNvGrpSpPr/>
          <p:nvPr/>
        </p:nvGrpSpPr>
        <p:grpSpPr>
          <a:xfrm>
            <a:off x="0" y="6750000"/>
            <a:ext cx="12192000" cy="108000"/>
            <a:chOff x="0" y="6738937"/>
            <a:chExt cx="12192000" cy="119063"/>
          </a:xfrm>
        </p:grpSpPr>
        <p:sp>
          <p:nvSpPr>
            <p:cNvPr id="23" name="Rectangle 3">
              <a:extLst>
                <a:ext uri="{FF2B5EF4-FFF2-40B4-BE49-F238E27FC236}">
                  <a16:creationId xmlns:a16="http://schemas.microsoft.com/office/drawing/2014/main" id="{6D34C862-2E0E-47AE-9F97-69544EC12973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974469" y="4764469"/>
              <a:ext cx="119062" cy="406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24" name="Rectangle 4">
              <a:extLst>
                <a:ext uri="{FF2B5EF4-FFF2-40B4-BE49-F238E27FC236}">
                  <a16:creationId xmlns:a16="http://schemas.microsoft.com/office/drawing/2014/main" id="{FE43F768-C76A-4B60-BAC1-BA93BE0811F4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036469" y="4764469"/>
              <a:ext cx="119062" cy="406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25" name="Rectangle 5">
              <a:extLst>
                <a:ext uri="{FF2B5EF4-FFF2-40B4-BE49-F238E27FC236}">
                  <a16:creationId xmlns:a16="http://schemas.microsoft.com/office/drawing/2014/main" id="{6E988D47-B4A6-4322-9198-387CA3E04554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098469" y="4764468"/>
              <a:ext cx="119062" cy="4068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5494516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large room&#10;&#10;Description generated with very high confidence">
            <a:extLst>
              <a:ext uri="{FF2B5EF4-FFF2-40B4-BE49-F238E27FC236}">
                <a16:creationId xmlns:a16="http://schemas.microsoft.com/office/drawing/2014/main" id="{C9D28536-BB4C-4069-9E51-3EF8032624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2"/>
            <a:ext cx="12192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1C8883F7-78EA-43E0-A949-185504FC831C}"/>
              </a:ext>
            </a:extLst>
          </p:cNvPr>
          <p:cNvSpPr/>
          <p:nvPr userDrawn="1"/>
        </p:nvSpPr>
        <p:spPr>
          <a:xfrm>
            <a:off x="0" y="2"/>
            <a:ext cx="12204702" cy="6748463"/>
          </a:xfrm>
          <a:prstGeom prst="rect">
            <a:avLst/>
          </a:prstGeom>
          <a:solidFill>
            <a:srgbClr val="022E4B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6728575E-8361-4B3E-986B-088240A0B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7888" y="285181"/>
            <a:ext cx="11621212" cy="5778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3200" b="0" baseline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Segoe UI" panose="020B0502040204020203" pitchFamily="34" charset="0"/>
                <a:sym typeface="Helvetica Neue Medium" pitchFamily="6" charset="0"/>
              </a:defRPr>
            </a:lvl1pPr>
          </a:lstStyle>
          <a:p>
            <a:pPr lvl="0" defTabSz="411160" eaLnBrk="0" fontAlgn="base" hangingPunct="0">
              <a:spcAft>
                <a:spcPct val="0"/>
              </a:spcAft>
            </a:pPr>
            <a:r>
              <a:rPr lang="en-US"/>
              <a:t>Slide Title goes here</a:t>
            </a:r>
          </a:p>
        </p:txBody>
      </p:sp>
      <p:pic>
        <p:nvPicPr>
          <p:cNvPr id="16" name="Picture 15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F7DB9109-CE7A-4EFF-AC33-DEA0DC0BC50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1003" y="6373498"/>
            <a:ext cx="1207008" cy="258942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B22728B7-1D74-4BDD-8B9B-C6F49B967060}"/>
              </a:ext>
            </a:extLst>
          </p:cNvPr>
          <p:cNvGrpSpPr/>
          <p:nvPr userDrawn="1"/>
        </p:nvGrpSpPr>
        <p:grpSpPr>
          <a:xfrm>
            <a:off x="1" y="6750000"/>
            <a:ext cx="12192000" cy="108000"/>
            <a:chOff x="0" y="6738937"/>
            <a:chExt cx="12192000" cy="119063"/>
          </a:xfrm>
        </p:grpSpPr>
        <p:sp>
          <p:nvSpPr>
            <p:cNvPr id="7" name="Rectangle 3">
              <a:extLst>
                <a:ext uri="{FF2B5EF4-FFF2-40B4-BE49-F238E27FC236}">
                  <a16:creationId xmlns:a16="http://schemas.microsoft.com/office/drawing/2014/main" id="{0BF1B284-CB6B-4663-9D87-A85F28F29443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974469" y="4764469"/>
              <a:ext cx="119062" cy="406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9" name="Rectangle 4">
              <a:extLst>
                <a:ext uri="{FF2B5EF4-FFF2-40B4-BE49-F238E27FC236}">
                  <a16:creationId xmlns:a16="http://schemas.microsoft.com/office/drawing/2014/main" id="{4504A79A-2EC5-4AA4-97D9-4231949AD527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036469" y="4764469"/>
              <a:ext cx="119062" cy="406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  <p:sp>
          <p:nvSpPr>
            <p:cNvPr id="10" name="Rectangle 5">
              <a:extLst>
                <a:ext uri="{FF2B5EF4-FFF2-40B4-BE49-F238E27FC236}">
                  <a16:creationId xmlns:a16="http://schemas.microsoft.com/office/drawing/2014/main" id="{30330E61-91DA-4024-9B3D-CB8CFA472EA0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098469" y="4764468"/>
              <a:ext cx="119062" cy="4068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 eaLnBrk="1"/>
              <a:endParaRPr lang="en-US" altLang="en-US" sz="1600" b="0">
                <a:solidFill>
                  <a:srgbClr val="FFFFFF"/>
                </a:solidFill>
                <a:latin typeface="Helvetica Neue Medium" pitchFamily="6" charset="0"/>
                <a:sym typeface="Helvetica Neue Medium" pitchFamily="6" charset="0"/>
              </a:endParaRPr>
            </a:p>
          </p:txBody>
        </p:sp>
      </p:grpSp>
      <p:sp>
        <p:nvSpPr>
          <p:cNvPr id="11" name="Slide Number Placeholder 32">
            <a:extLst>
              <a:ext uri="{FF2B5EF4-FFF2-40B4-BE49-F238E27FC236}">
                <a16:creationId xmlns:a16="http://schemas.microsoft.com/office/drawing/2014/main" id="{39F449CB-37D1-4A8A-A795-906AA7EDBBE6}"/>
              </a:ext>
            </a:extLst>
          </p:cNvPr>
          <p:cNvSpPr txBox="1">
            <a:spLocks/>
          </p:cNvSpPr>
          <p:nvPr userDrawn="1"/>
        </p:nvSpPr>
        <p:spPr>
          <a:xfrm>
            <a:off x="358515" y="6536785"/>
            <a:ext cx="3201704" cy="12561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en-US" sz="800">
                <a:solidFill>
                  <a:schemeClr val="bg1">
                    <a:lumMod val="75000"/>
                  </a:schemeClr>
                </a:solidFill>
                <a:latin typeface="+mn-lt"/>
              </a:rPr>
              <a:t>© 2019 Fractal Analytics Inc. All rights reserved |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0487739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losing Slide/ Thank You">
    <p:bg>
      <p:bgPr>
        <a:blipFill dpi="0" rotWithShape="1">
          <a:blip r:embed="rId2">
            <a:lum/>
          </a:blip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CB712C1D-486A-B749-B52A-C169E419CDA4}"/>
              </a:ext>
            </a:extLst>
          </p:cNvPr>
          <p:cNvSpPr txBox="1">
            <a:spLocks/>
          </p:cNvSpPr>
          <p:nvPr userDrawn="1"/>
        </p:nvSpPr>
        <p:spPr>
          <a:xfrm>
            <a:off x="580635" y="2595484"/>
            <a:ext cx="5003301" cy="1046440"/>
          </a:xfrm>
          <a:prstGeom prst="rect">
            <a:avLst/>
          </a:prstGeom>
          <a:noFill/>
        </p:spPr>
        <p:txBody>
          <a:bodyPr tIns="0" bIns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800" b="1" i="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GB"/>
              <a:t>Thank You.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FAC5960-9DFE-4FCE-9F3E-7E71D5335D59}"/>
              </a:ext>
            </a:extLst>
          </p:cNvPr>
          <p:cNvSpPr txBox="1"/>
          <p:nvPr userDrawn="1"/>
        </p:nvSpPr>
        <p:spPr>
          <a:xfrm>
            <a:off x="729624" y="5382478"/>
            <a:ext cx="435976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 strategic partner to the most admired Fortune 500® companies globally, we help power every human decision in the enterprise by bringing advanced analytics &amp; AI, engineering and design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36E1585-D766-4B04-A7D7-9B27FF597730}"/>
              </a:ext>
            </a:extLst>
          </p:cNvPr>
          <p:cNvSpPr txBox="1"/>
          <p:nvPr userDrawn="1"/>
        </p:nvSpPr>
        <p:spPr>
          <a:xfrm>
            <a:off x="10351096" y="6029237"/>
            <a:ext cx="11997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solidFill>
                  <a:srgbClr val="6B6B6B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ww.fractal.ai</a:t>
            </a:r>
          </a:p>
        </p:txBody>
      </p:sp>
      <p:sp>
        <p:nvSpPr>
          <p:cNvPr id="20" name="Freeform 6">
            <a:hlinkClick r:id="rId3"/>
            <a:extLst>
              <a:ext uri="{FF2B5EF4-FFF2-40B4-BE49-F238E27FC236}">
                <a16:creationId xmlns:a16="http://schemas.microsoft.com/office/drawing/2014/main" id="{B6C1155E-5832-4871-A7A9-F568C266B18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9001063" y="5942606"/>
            <a:ext cx="309599" cy="335495"/>
          </a:xfrm>
          <a:custGeom>
            <a:avLst/>
            <a:gdLst>
              <a:gd name="T0" fmla="*/ 6321 w 8634"/>
              <a:gd name="T1" fmla="*/ 3305 h 9592"/>
              <a:gd name="T2" fmla="*/ 6622 w 8634"/>
              <a:gd name="T3" fmla="*/ 3222 h 9592"/>
              <a:gd name="T4" fmla="*/ 6304 w 8634"/>
              <a:gd name="T5" fmla="*/ 3665 h 9592"/>
              <a:gd name="T6" fmla="*/ 5563 w 8634"/>
              <a:gd name="T7" fmla="*/ 5255 h 9592"/>
              <a:gd name="T8" fmla="*/ 4494 w 8634"/>
              <a:gd name="T9" fmla="*/ 5709 h 9592"/>
              <a:gd name="T10" fmla="*/ 3218 w 8634"/>
              <a:gd name="T11" fmla="*/ 5420 h 9592"/>
              <a:gd name="T12" fmla="*/ 3739 w 8634"/>
              <a:gd name="T13" fmla="*/ 5338 h 9592"/>
              <a:gd name="T14" fmla="*/ 4172 w 8634"/>
              <a:gd name="T15" fmla="*/ 5136 h 9592"/>
              <a:gd name="T16" fmla="*/ 3575 w 8634"/>
              <a:gd name="T17" fmla="*/ 4644 h 9592"/>
              <a:gd name="T18" fmla="*/ 3600 w 8634"/>
              <a:gd name="T19" fmla="*/ 4634 h 9592"/>
              <a:gd name="T20" fmla="*/ 3818 w 8634"/>
              <a:gd name="T21" fmla="*/ 4598 h 9592"/>
              <a:gd name="T22" fmla="*/ 3295 w 8634"/>
              <a:gd name="T23" fmla="*/ 3892 h 9592"/>
              <a:gd name="T24" fmla="*/ 3558 w 8634"/>
              <a:gd name="T25" fmla="*/ 3942 h 9592"/>
              <a:gd name="T26" fmla="*/ 3412 w 8634"/>
              <a:gd name="T27" fmla="*/ 3003 h 9592"/>
              <a:gd name="T28" fmla="*/ 3991 w 8634"/>
              <a:gd name="T29" fmla="*/ 3486 h 9592"/>
              <a:gd name="T30" fmla="*/ 4863 w 8634"/>
              <a:gd name="T31" fmla="*/ 3748 h 9592"/>
              <a:gd name="T32" fmla="*/ 6009 w 8634"/>
              <a:gd name="T33" fmla="*/ 3024 h 9592"/>
              <a:gd name="T34" fmla="*/ 6538 w 8634"/>
              <a:gd name="T35" fmla="*/ 2936 h 9592"/>
              <a:gd name="T36" fmla="*/ 6321 w 8634"/>
              <a:gd name="T37" fmla="*/ 3305 h 9592"/>
              <a:gd name="T38" fmla="*/ 8393 w 8634"/>
              <a:gd name="T39" fmla="*/ 4538 h 9592"/>
              <a:gd name="T40" fmla="*/ 3555 w 8634"/>
              <a:gd name="T41" fmla="*/ 990 h 9592"/>
              <a:gd name="T42" fmla="*/ 1699 w 8634"/>
              <a:gd name="T43" fmla="*/ 2664 h 9592"/>
              <a:gd name="T44" fmla="*/ 7236 w 8634"/>
              <a:gd name="T45" fmla="*/ 6930 h 9592"/>
              <a:gd name="T46" fmla="*/ 8393 w 8634"/>
              <a:gd name="T47" fmla="*/ 4538 h 95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8634" h="9592">
                <a:moveTo>
                  <a:pt x="6321" y="3305"/>
                </a:moveTo>
                <a:lnTo>
                  <a:pt x="6622" y="3222"/>
                </a:lnTo>
                <a:cubicBezTo>
                  <a:pt x="6520" y="3400"/>
                  <a:pt x="6336" y="3508"/>
                  <a:pt x="6304" y="3665"/>
                </a:cubicBezTo>
                <a:cubicBezTo>
                  <a:pt x="6198" y="4171"/>
                  <a:pt x="6196" y="4748"/>
                  <a:pt x="5563" y="5255"/>
                </a:cubicBezTo>
                <a:cubicBezTo>
                  <a:pt x="5297" y="5468"/>
                  <a:pt x="4960" y="5664"/>
                  <a:pt x="4494" y="5709"/>
                </a:cubicBezTo>
                <a:cubicBezTo>
                  <a:pt x="4093" y="5749"/>
                  <a:pt x="3440" y="5639"/>
                  <a:pt x="3218" y="5420"/>
                </a:cubicBezTo>
                <a:cubicBezTo>
                  <a:pt x="3350" y="5361"/>
                  <a:pt x="3576" y="5384"/>
                  <a:pt x="3739" y="5338"/>
                </a:cubicBezTo>
                <a:cubicBezTo>
                  <a:pt x="3916" y="5289"/>
                  <a:pt x="4054" y="5210"/>
                  <a:pt x="4172" y="5136"/>
                </a:cubicBezTo>
                <a:cubicBezTo>
                  <a:pt x="4013" y="5025"/>
                  <a:pt x="3707" y="5000"/>
                  <a:pt x="3575" y="4644"/>
                </a:cubicBezTo>
                <a:cubicBezTo>
                  <a:pt x="3583" y="4639"/>
                  <a:pt x="3596" y="4626"/>
                  <a:pt x="3600" y="4634"/>
                </a:cubicBezTo>
                <a:lnTo>
                  <a:pt x="3818" y="4598"/>
                </a:lnTo>
                <a:cubicBezTo>
                  <a:pt x="3508" y="4393"/>
                  <a:pt x="3360" y="4352"/>
                  <a:pt x="3295" y="3892"/>
                </a:cubicBezTo>
                <a:lnTo>
                  <a:pt x="3558" y="3942"/>
                </a:lnTo>
                <a:cubicBezTo>
                  <a:pt x="3373" y="3718"/>
                  <a:pt x="3184" y="3367"/>
                  <a:pt x="3412" y="3003"/>
                </a:cubicBezTo>
                <a:cubicBezTo>
                  <a:pt x="3614" y="3174"/>
                  <a:pt x="3609" y="3272"/>
                  <a:pt x="3991" y="3486"/>
                </a:cubicBezTo>
                <a:cubicBezTo>
                  <a:pt x="4253" y="3632"/>
                  <a:pt x="4505" y="3715"/>
                  <a:pt x="4863" y="3748"/>
                </a:cubicBezTo>
                <a:cubicBezTo>
                  <a:pt x="4837" y="3016"/>
                  <a:pt x="5390" y="2650"/>
                  <a:pt x="6009" y="3024"/>
                </a:cubicBezTo>
                <a:cubicBezTo>
                  <a:pt x="6201" y="3141"/>
                  <a:pt x="6311" y="3009"/>
                  <a:pt x="6538" y="2936"/>
                </a:cubicBezTo>
                <a:cubicBezTo>
                  <a:pt x="6481" y="3106"/>
                  <a:pt x="6394" y="3160"/>
                  <a:pt x="6321" y="3305"/>
                </a:cubicBezTo>
                <a:close/>
                <a:moveTo>
                  <a:pt x="8393" y="4538"/>
                </a:moveTo>
                <a:cubicBezTo>
                  <a:pt x="8634" y="2125"/>
                  <a:pt x="6090" y="0"/>
                  <a:pt x="3555" y="990"/>
                </a:cubicBezTo>
                <a:cubicBezTo>
                  <a:pt x="2733" y="1311"/>
                  <a:pt x="2094" y="1889"/>
                  <a:pt x="1699" y="2664"/>
                </a:cubicBezTo>
                <a:cubicBezTo>
                  <a:pt x="0" y="5997"/>
                  <a:pt x="3979" y="9592"/>
                  <a:pt x="7236" y="6930"/>
                </a:cubicBezTo>
                <a:cubicBezTo>
                  <a:pt x="7915" y="6376"/>
                  <a:pt x="8302" y="5446"/>
                  <a:pt x="8393" y="4538"/>
                </a:cubicBezTo>
                <a:close/>
              </a:path>
            </a:pathLst>
          </a:custGeom>
          <a:solidFill>
            <a:srgbClr val="00B0F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Freeform 11">
            <a:hlinkClick r:id="rId4"/>
            <a:extLst>
              <a:ext uri="{FF2B5EF4-FFF2-40B4-BE49-F238E27FC236}">
                <a16:creationId xmlns:a16="http://schemas.microsoft.com/office/drawing/2014/main" id="{123AD49C-4EAA-4A9F-8D0C-E2B97FC4CB7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9386925" y="5963631"/>
            <a:ext cx="269148" cy="263698"/>
          </a:xfrm>
          <a:custGeom>
            <a:avLst/>
            <a:gdLst>
              <a:gd name="T0" fmla="*/ 1829 w 7029"/>
              <a:gd name="T1" fmla="*/ 2378 h 7017"/>
              <a:gd name="T2" fmla="*/ 2499 w 7029"/>
              <a:gd name="T3" fmla="*/ 2376 h 7017"/>
              <a:gd name="T4" fmla="*/ 2495 w 7029"/>
              <a:gd name="T5" fmla="*/ 4751 h 7017"/>
              <a:gd name="T6" fmla="*/ 1829 w 7029"/>
              <a:gd name="T7" fmla="*/ 4741 h 7017"/>
              <a:gd name="T8" fmla="*/ 1829 w 7029"/>
              <a:gd name="T9" fmla="*/ 2378 h 7017"/>
              <a:gd name="T10" fmla="*/ 3807 w 7029"/>
              <a:gd name="T11" fmla="*/ 2623 h 7017"/>
              <a:gd name="T12" fmla="*/ 5220 w 7029"/>
              <a:gd name="T13" fmla="*/ 2756 h 7017"/>
              <a:gd name="T14" fmla="*/ 5359 w 7029"/>
              <a:gd name="T15" fmla="*/ 4751 h 7017"/>
              <a:gd name="T16" fmla="*/ 4688 w 7029"/>
              <a:gd name="T17" fmla="*/ 4739 h 7017"/>
              <a:gd name="T18" fmla="*/ 4688 w 7029"/>
              <a:gd name="T19" fmla="*/ 3585 h 7017"/>
              <a:gd name="T20" fmla="*/ 4216 w 7029"/>
              <a:gd name="T21" fmla="*/ 2871 h 7017"/>
              <a:gd name="T22" fmla="*/ 3788 w 7029"/>
              <a:gd name="T23" fmla="*/ 3621 h 7017"/>
              <a:gd name="T24" fmla="*/ 3788 w 7029"/>
              <a:gd name="T25" fmla="*/ 4750 h 7017"/>
              <a:gd name="T26" fmla="*/ 3119 w 7029"/>
              <a:gd name="T27" fmla="*/ 4746 h 7017"/>
              <a:gd name="T28" fmla="*/ 3123 w 7029"/>
              <a:gd name="T29" fmla="*/ 2377 h 7017"/>
              <a:gd name="T30" fmla="*/ 3807 w 7029"/>
              <a:gd name="T31" fmla="*/ 2623 h 7017"/>
              <a:gd name="T32" fmla="*/ 2078 w 7029"/>
              <a:gd name="T33" fmla="*/ 1430 h 7017"/>
              <a:gd name="T34" fmla="*/ 2300 w 7029"/>
              <a:gd name="T35" fmla="*/ 2167 h 7017"/>
              <a:gd name="T36" fmla="*/ 2078 w 7029"/>
              <a:gd name="T37" fmla="*/ 1430 h 7017"/>
              <a:gd name="T38" fmla="*/ 3018 w 7029"/>
              <a:gd name="T39" fmla="*/ 294 h 7017"/>
              <a:gd name="T40" fmla="*/ 288 w 7029"/>
              <a:gd name="T41" fmla="*/ 3992 h 7017"/>
              <a:gd name="T42" fmla="*/ 4023 w 7029"/>
              <a:gd name="T43" fmla="*/ 6708 h 7017"/>
              <a:gd name="T44" fmla="*/ 6733 w 7029"/>
              <a:gd name="T45" fmla="*/ 3005 h 7017"/>
              <a:gd name="T46" fmla="*/ 3018 w 7029"/>
              <a:gd name="T47" fmla="*/ 294 h 70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7029" h="7017">
                <a:moveTo>
                  <a:pt x="1829" y="2378"/>
                </a:moveTo>
                <a:lnTo>
                  <a:pt x="2499" y="2376"/>
                </a:lnTo>
                <a:lnTo>
                  <a:pt x="2495" y="4751"/>
                </a:lnTo>
                <a:lnTo>
                  <a:pt x="1829" y="4741"/>
                </a:lnTo>
                <a:lnTo>
                  <a:pt x="1829" y="2378"/>
                </a:lnTo>
                <a:close/>
                <a:moveTo>
                  <a:pt x="3807" y="2623"/>
                </a:moveTo>
                <a:cubicBezTo>
                  <a:pt x="4148" y="2196"/>
                  <a:pt x="4940" y="2286"/>
                  <a:pt x="5220" y="2756"/>
                </a:cubicBezTo>
                <a:cubicBezTo>
                  <a:pt x="5446" y="3134"/>
                  <a:pt x="5370" y="4239"/>
                  <a:pt x="5359" y="4751"/>
                </a:cubicBezTo>
                <a:lnTo>
                  <a:pt x="4688" y="4739"/>
                </a:lnTo>
                <a:cubicBezTo>
                  <a:pt x="4691" y="4355"/>
                  <a:pt x="4688" y="3970"/>
                  <a:pt x="4688" y="3585"/>
                </a:cubicBezTo>
                <a:cubicBezTo>
                  <a:pt x="4688" y="3207"/>
                  <a:pt x="4670" y="2818"/>
                  <a:pt x="4216" y="2871"/>
                </a:cubicBezTo>
                <a:cubicBezTo>
                  <a:pt x="3845" y="2913"/>
                  <a:pt x="3786" y="3247"/>
                  <a:pt x="3788" y="3621"/>
                </a:cubicBezTo>
                <a:cubicBezTo>
                  <a:pt x="3790" y="3997"/>
                  <a:pt x="3788" y="4374"/>
                  <a:pt x="3788" y="4750"/>
                </a:cubicBezTo>
                <a:lnTo>
                  <a:pt x="3119" y="4746"/>
                </a:lnTo>
                <a:lnTo>
                  <a:pt x="3123" y="2377"/>
                </a:lnTo>
                <a:cubicBezTo>
                  <a:pt x="3927" y="2374"/>
                  <a:pt x="3741" y="2318"/>
                  <a:pt x="3807" y="2623"/>
                </a:cubicBezTo>
                <a:close/>
                <a:moveTo>
                  <a:pt x="2078" y="1430"/>
                </a:moveTo>
                <a:cubicBezTo>
                  <a:pt x="2577" y="1304"/>
                  <a:pt x="2732" y="2029"/>
                  <a:pt x="2300" y="2167"/>
                </a:cubicBezTo>
                <a:cubicBezTo>
                  <a:pt x="1779" y="2333"/>
                  <a:pt x="1529" y="1568"/>
                  <a:pt x="2078" y="1430"/>
                </a:cubicBezTo>
                <a:close/>
                <a:moveTo>
                  <a:pt x="3018" y="294"/>
                </a:moveTo>
                <a:cubicBezTo>
                  <a:pt x="1398" y="540"/>
                  <a:pt x="0" y="2030"/>
                  <a:pt x="288" y="3992"/>
                </a:cubicBezTo>
                <a:cubicBezTo>
                  <a:pt x="525" y="5610"/>
                  <a:pt x="2082" y="7017"/>
                  <a:pt x="4023" y="6708"/>
                </a:cubicBezTo>
                <a:cubicBezTo>
                  <a:pt x="5629" y="6453"/>
                  <a:pt x="7029" y="4935"/>
                  <a:pt x="6733" y="3005"/>
                </a:cubicBezTo>
                <a:cubicBezTo>
                  <a:pt x="6484" y="1382"/>
                  <a:pt x="4950" y="0"/>
                  <a:pt x="3018" y="294"/>
                </a:cubicBezTo>
                <a:close/>
              </a:path>
            </a:pathLst>
          </a:custGeom>
          <a:solidFill>
            <a:srgbClr val="0070C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B982B858-E814-42A5-B633-8AC8151FA0C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762834" y="4795112"/>
            <a:ext cx="1804127" cy="462596"/>
          </a:xfrm>
          <a:prstGeom prst="rect">
            <a:avLst/>
          </a:prstGeom>
        </p:spPr>
      </p:pic>
      <p:pic>
        <p:nvPicPr>
          <p:cNvPr id="37" name="Picture 36" descr="Logo&#10;&#10;Description automatically generated">
            <a:extLst>
              <a:ext uri="{FF2B5EF4-FFF2-40B4-BE49-F238E27FC236}">
                <a16:creationId xmlns:a16="http://schemas.microsoft.com/office/drawing/2014/main" id="{F94D8FD5-CAB5-47A9-976D-DFB774A6BE6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040493" y="5975875"/>
            <a:ext cx="237600" cy="237600"/>
          </a:xfrm>
          <a:prstGeom prst="rect">
            <a:avLst/>
          </a:prstGeom>
        </p:spPr>
      </p:pic>
      <p:pic>
        <p:nvPicPr>
          <p:cNvPr id="38" name="Picture 37" descr="Icon&#10;&#10;Description automatically generated">
            <a:extLst>
              <a:ext uri="{FF2B5EF4-FFF2-40B4-BE49-F238E27FC236}">
                <a16:creationId xmlns:a16="http://schemas.microsoft.com/office/drawing/2014/main" id="{C546B0A2-978B-4322-9B77-B8BAE7EEE89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726630" y="5975875"/>
            <a:ext cx="237600" cy="23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44087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50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24">
          <p15:clr>
            <a:srgbClr val="F26B43"/>
          </p15:clr>
        </p15:guide>
        <p15:guide id="2" pos="7320">
          <p15:clr>
            <a:srgbClr val="F26B43"/>
          </p15:clr>
        </p15:guide>
        <p15:guide id="3" pos="1176">
          <p15:clr>
            <a:srgbClr val="F26B43"/>
          </p15:clr>
        </p15:guide>
        <p15:guide id="4" orient="horz" pos="74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comments" Target="../comments/comment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comments" Target="../comments/commen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D321435-B2A0-4917-97CC-841B53BC88E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D321435-B2A0-4917-97CC-841B53BC88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EB160C2-BF1E-4FFA-9447-07ADC756292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579CA4-A565-4F79-95C5-4A0EC847AF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394" y="286745"/>
            <a:ext cx="11621212" cy="455505"/>
          </a:xfrm>
        </p:spPr>
        <p:txBody>
          <a:bodyPr/>
          <a:lstStyle/>
          <a:p>
            <a:r>
              <a:rPr lang="en-IN" sz="2400" dirty="0">
                <a:latin typeface="Calibri"/>
                <a:ea typeface="MS PGothic"/>
                <a:cs typeface="Calibri"/>
              </a:rPr>
              <a:t>Call intent prediction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90689D5-9648-487F-BF2E-432CA59D22AD}"/>
              </a:ext>
            </a:extLst>
          </p:cNvPr>
          <p:cNvSpPr/>
          <p:nvPr/>
        </p:nvSpPr>
        <p:spPr>
          <a:xfrm>
            <a:off x="2328686" y="1685861"/>
            <a:ext cx="1645920" cy="301752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00" b="1" dirty="0">
                <a:solidFill>
                  <a:schemeClr val="tx2"/>
                </a:solidFill>
                <a:cs typeface="Calibri"/>
              </a:rPr>
              <a:t>Exploration</a:t>
            </a:r>
          </a:p>
          <a:p>
            <a:pPr marL="285750" indent="-285750">
              <a:buFont typeface="Arial"/>
              <a:buChar char="•"/>
            </a:pPr>
            <a:endParaRPr lang="en-US" sz="1000" dirty="0">
              <a:solidFill>
                <a:schemeClr val="tx2"/>
              </a:solidFill>
              <a:cs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US" sz="1000" dirty="0">
                <a:solidFill>
                  <a:schemeClr val="tx2"/>
                </a:solidFill>
                <a:cs typeface="Calibri"/>
              </a:rPr>
              <a:t>Distribution of features with respect to target</a:t>
            </a:r>
          </a:p>
          <a:p>
            <a:pPr marL="285750" indent="-285750">
              <a:buFont typeface="Arial"/>
              <a:buChar char="•"/>
            </a:pPr>
            <a:r>
              <a:rPr lang="en-US" sz="1000" dirty="0">
                <a:solidFill>
                  <a:schemeClr val="tx2"/>
                </a:solidFill>
                <a:cs typeface="Calibri"/>
              </a:rPr>
              <a:t>Target distribution</a:t>
            </a:r>
          </a:p>
          <a:p>
            <a:pPr marL="285750" indent="-285750">
              <a:buFont typeface="Arial"/>
              <a:buChar char="•"/>
            </a:pPr>
            <a:r>
              <a:rPr lang="en-US" sz="1000" dirty="0">
                <a:solidFill>
                  <a:schemeClr val="tx2"/>
                </a:solidFill>
                <a:cs typeface="Calibri"/>
              </a:rPr>
              <a:t>Identify how interactions/ features are related to labelled target</a:t>
            </a:r>
          </a:p>
          <a:p>
            <a:pPr marL="285750" indent="-285750">
              <a:buFont typeface="Arial"/>
              <a:buChar char="•"/>
            </a:pPr>
            <a:r>
              <a:rPr lang="en-US" sz="1000" dirty="0">
                <a:solidFill>
                  <a:schemeClr val="tx2"/>
                </a:solidFill>
                <a:cs typeface="Calibri"/>
              </a:rPr>
              <a:t>Feature correlations</a:t>
            </a:r>
          </a:p>
          <a:p>
            <a:pPr marL="285750" indent="-285750">
              <a:buFont typeface="Arial"/>
              <a:buChar char="•"/>
            </a:pPr>
            <a:r>
              <a:rPr lang="en-US" sz="1000" dirty="0">
                <a:solidFill>
                  <a:schemeClr val="tx2"/>
                </a:solidFill>
                <a:cs typeface="Calibri"/>
              </a:rPr>
              <a:t>Visualizations: histograms, bar plots</a:t>
            </a:r>
          </a:p>
          <a:p>
            <a:endParaRPr lang="en-US" sz="1000" dirty="0">
              <a:solidFill>
                <a:schemeClr val="tx2"/>
              </a:solidFill>
              <a:cs typeface="Calibri"/>
            </a:endParaRPr>
          </a:p>
          <a:p>
            <a:endParaRPr lang="en-US" sz="1000" b="1" dirty="0">
              <a:solidFill>
                <a:schemeClr val="tx2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7F8D248-AB9F-4CB2-99E3-2F69B2CB5474}"/>
              </a:ext>
            </a:extLst>
          </p:cNvPr>
          <p:cNvSpPr txBox="1"/>
          <p:nvPr/>
        </p:nvSpPr>
        <p:spPr>
          <a:xfrm>
            <a:off x="4371978" y="1685860"/>
            <a:ext cx="1645920" cy="301752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000" b="1" dirty="0">
                <a:cs typeface="Calibri"/>
              </a:rPr>
              <a:t>Feature engineering</a:t>
            </a:r>
            <a:endParaRPr lang="en-US" sz="1000" dirty="0"/>
          </a:p>
          <a:p>
            <a:pPr marL="171450" indent="-171450">
              <a:buFont typeface="Arial"/>
              <a:buChar char="•"/>
            </a:pPr>
            <a:endParaRPr lang="en-US" sz="1000" dirty="0">
              <a:cs typeface="Calibri"/>
            </a:endParaRPr>
          </a:p>
          <a:p>
            <a:pPr marL="171450" indent="-171450">
              <a:buFont typeface="Arial"/>
              <a:buChar char="•"/>
            </a:pPr>
            <a:r>
              <a:rPr lang="en-US" sz="1000" dirty="0">
                <a:cs typeface="Calibri"/>
              </a:rPr>
              <a:t>Create features around:</a:t>
            </a:r>
          </a:p>
          <a:p>
            <a:pPr marL="171450" indent="-171450">
              <a:buFont typeface="Arial"/>
              <a:buChar char="•"/>
            </a:pPr>
            <a:r>
              <a:rPr lang="en-US" sz="1000" dirty="0">
                <a:cs typeface="Calibri"/>
              </a:rPr>
              <a:t>Rolling lags</a:t>
            </a:r>
          </a:p>
          <a:p>
            <a:pPr marL="171450" indent="-171450">
              <a:buFont typeface="Arial"/>
              <a:buChar char="•"/>
            </a:pPr>
            <a:r>
              <a:rPr lang="en-US" sz="1000" dirty="0">
                <a:cs typeface="Calibri"/>
              </a:rPr>
              <a:t>Delta (% change) </a:t>
            </a:r>
          </a:p>
          <a:p>
            <a:pPr marL="171450" indent="-171450">
              <a:buFont typeface="Arial"/>
              <a:buChar char="•"/>
            </a:pPr>
            <a:r>
              <a:rPr lang="en-US" sz="1000" dirty="0">
                <a:cs typeface="Calibri"/>
              </a:rPr>
              <a:t>Average 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0CE7B3F-C639-4DAF-B4B4-E360BE4C3084}"/>
              </a:ext>
            </a:extLst>
          </p:cNvPr>
          <p:cNvSpPr txBox="1"/>
          <p:nvPr/>
        </p:nvSpPr>
        <p:spPr>
          <a:xfrm>
            <a:off x="8458562" y="1685860"/>
            <a:ext cx="1645920" cy="301752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000" b="1" dirty="0">
                <a:cs typeface="Calibri"/>
              </a:rPr>
              <a:t>Multiclass classification</a:t>
            </a:r>
          </a:p>
          <a:p>
            <a:pPr marL="285750" indent="-285750">
              <a:buFont typeface="Arial"/>
              <a:buChar char="•"/>
            </a:pPr>
            <a:r>
              <a:rPr lang="en-US" sz="1000" dirty="0">
                <a:cs typeface="Calibri"/>
              </a:rPr>
              <a:t>Combine features from  harmonized data and feature engineering</a:t>
            </a:r>
          </a:p>
          <a:p>
            <a:pPr marL="285750" indent="-285750">
              <a:buFont typeface="Arial"/>
              <a:buChar char="•"/>
            </a:pPr>
            <a:r>
              <a:rPr lang="en-US" sz="1000" dirty="0">
                <a:cs typeface="Calibri"/>
              </a:rPr>
              <a:t>Split into train-test</a:t>
            </a:r>
          </a:p>
          <a:p>
            <a:pPr marL="285750" indent="-285750">
              <a:buFont typeface="Arial"/>
              <a:buChar char="•"/>
            </a:pPr>
            <a:r>
              <a:rPr lang="en-US" sz="1000" dirty="0">
                <a:cs typeface="Calibri"/>
              </a:rPr>
              <a:t>Perform feature selection </a:t>
            </a:r>
          </a:p>
          <a:p>
            <a:pPr marL="285750" indent="-285750">
              <a:buFont typeface="Arial"/>
              <a:buChar char="•"/>
            </a:pPr>
            <a:r>
              <a:rPr lang="en-US" sz="1000" dirty="0">
                <a:cs typeface="Calibri"/>
              </a:rPr>
              <a:t>Handle imbalances</a:t>
            </a:r>
          </a:p>
          <a:p>
            <a:pPr marL="285750" indent="-285750">
              <a:buFont typeface="Arial"/>
              <a:buChar char="•"/>
            </a:pPr>
            <a:r>
              <a:rPr lang="en-US" sz="1000" dirty="0">
                <a:cs typeface="Calibri"/>
              </a:rPr>
              <a:t>Build multi class classifier to predict intents for Members</a:t>
            </a:r>
          </a:p>
          <a:p>
            <a:pPr marL="285750" indent="-285750">
              <a:buFont typeface="Arial"/>
              <a:buChar char="•"/>
            </a:pPr>
            <a:r>
              <a:rPr lang="en-US" sz="1000" dirty="0">
                <a:cs typeface="Calibri"/>
              </a:rPr>
              <a:t>Hyperparameter tunin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F7A2F09-2136-4882-B766-566F2E55DF35}"/>
              </a:ext>
            </a:extLst>
          </p:cNvPr>
          <p:cNvSpPr txBox="1"/>
          <p:nvPr/>
        </p:nvSpPr>
        <p:spPr>
          <a:xfrm>
            <a:off x="6415270" y="1685861"/>
            <a:ext cx="1645920" cy="3017520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000" b="1" dirty="0"/>
              <a:t>Build &amp; validate hypotheses</a:t>
            </a:r>
          </a:p>
          <a:p>
            <a:endParaRPr lang="en-US" sz="1000" b="1" dirty="0">
              <a:cs typeface="Calibri"/>
            </a:endParaRPr>
          </a:p>
          <a:p>
            <a:pPr marL="171450" indent="-171450">
              <a:buFont typeface="Arial"/>
              <a:buChar char="•"/>
            </a:pPr>
            <a:r>
              <a:rPr lang="en-US" sz="1000" dirty="0">
                <a:cs typeface="Calibri"/>
              </a:rPr>
              <a:t>Validate set of features explaining causality of call intents</a:t>
            </a:r>
          </a:p>
          <a:p>
            <a:pPr marL="171450" indent="-171450">
              <a:buFont typeface="Arial"/>
              <a:buChar char="•"/>
            </a:pPr>
            <a:endParaRPr lang="en-US" sz="1000" dirty="0">
              <a:cs typeface="Calibri"/>
            </a:endParaRPr>
          </a:p>
          <a:p>
            <a:pPr marL="171450" indent="-171450">
              <a:buFont typeface="Arial"/>
              <a:buChar char="•"/>
            </a:pPr>
            <a:r>
              <a:rPr lang="en-US" sz="1000" dirty="0">
                <a:cs typeface="Calibri"/>
              </a:rPr>
              <a:t>Validate appropriate lookback of features required for target prediction</a:t>
            </a:r>
          </a:p>
          <a:p>
            <a:pPr marL="171450" indent="-171450">
              <a:buFont typeface="Arial"/>
              <a:buChar char="•"/>
            </a:pPr>
            <a:endParaRPr lang="en-US" sz="1000" dirty="0">
              <a:cs typeface="Calibri"/>
            </a:endParaRPr>
          </a:p>
          <a:p>
            <a:pPr marL="171450" indent="-171450">
              <a:buFont typeface="Arial"/>
              <a:buChar char="•"/>
            </a:pPr>
            <a:r>
              <a:rPr lang="en-US" sz="1000" dirty="0">
                <a:cs typeface="Calibri"/>
              </a:rPr>
              <a:t>Use Biserial correlation coefficient between continuous-categorical variables</a:t>
            </a:r>
          </a:p>
          <a:p>
            <a:endParaRPr lang="en-US" sz="1000" dirty="0">
              <a:cs typeface="Calibri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AC1F76F-3A22-4046-8DF3-DD718D864032}"/>
              </a:ext>
            </a:extLst>
          </p:cNvPr>
          <p:cNvSpPr/>
          <p:nvPr/>
        </p:nvSpPr>
        <p:spPr>
          <a:xfrm>
            <a:off x="285394" y="1685861"/>
            <a:ext cx="1645920" cy="301752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algn="ctr"/>
            <a:r>
              <a:rPr lang="en-US" sz="1000" b="1" dirty="0">
                <a:solidFill>
                  <a:schemeClr val="tx2"/>
                </a:solidFill>
                <a:ea typeface="+mn-lt"/>
                <a:cs typeface="+mn-lt"/>
              </a:rPr>
              <a:t>Harmonized 360 Member view</a:t>
            </a:r>
          </a:p>
          <a:p>
            <a:pPr algn="ctr"/>
            <a:endParaRPr lang="en-US" sz="1000" b="1" dirty="0">
              <a:solidFill>
                <a:schemeClr val="tx2"/>
              </a:solidFill>
              <a:ea typeface="+mn-lt"/>
              <a:cs typeface="+mn-lt"/>
            </a:endParaRPr>
          </a:p>
          <a:p>
            <a:pPr marL="285750" indent="-285750">
              <a:buFont typeface="Arial"/>
              <a:buChar char="•"/>
            </a:pPr>
            <a:r>
              <a:rPr lang="en-US" sz="1000" dirty="0">
                <a:solidFill>
                  <a:schemeClr val="tx2"/>
                </a:solidFill>
              </a:rPr>
              <a:t>Combine different data sources to create a single Member view at required granularity</a:t>
            </a:r>
            <a:endParaRPr lang="en-US" sz="1000" dirty="0">
              <a:solidFill>
                <a:schemeClr val="tx2"/>
              </a:solidFill>
              <a:cs typeface="Calibri"/>
            </a:endParaRPr>
          </a:p>
          <a:p>
            <a:pPr marL="285750" indent="-285750">
              <a:buFont typeface="Arial"/>
              <a:buChar char="•"/>
            </a:pPr>
            <a:endParaRPr lang="en-US" sz="1000" dirty="0">
              <a:solidFill>
                <a:schemeClr val="tx2"/>
              </a:solidFill>
              <a:cs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US" sz="1000" dirty="0">
                <a:solidFill>
                  <a:schemeClr val="tx2"/>
                </a:solidFill>
                <a:cs typeface="Calibri"/>
              </a:rPr>
              <a:t>Merge call transactions, Past interactions, Web touchpoints</a:t>
            </a:r>
          </a:p>
          <a:p>
            <a:pPr algn="ctr"/>
            <a:endParaRPr lang="en-US" sz="1000" dirty="0">
              <a:solidFill>
                <a:schemeClr val="tx2"/>
              </a:solidFill>
              <a:ea typeface="+mn-lt"/>
              <a:cs typeface="+mn-lt"/>
            </a:endParaRPr>
          </a:p>
          <a:p>
            <a:pPr algn="ctr"/>
            <a:endParaRPr lang="en-US" sz="1000" b="1" dirty="0">
              <a:solidFill>
                <a:schemeClr val="tx2"/>
              </a:solidFill>
              <a:cs typeface="Calibri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3C47EE6-933D-4A34-B5FF-E0DCE999C72B}"/>
              </a:ext>
            </a:extLst>
          </p:cNvPr>
          <p:cNvSpPr/>
          <p:nvPr/>
        </p:nvSpPr>
        <p:spPr>
          <a:xfrm>
            <a:off x="10501856" y="1685861"/>
            <a:ext cx="1645920" cy="301752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00" b="1" dirty="0">
                <a:solidFill>
                  <a:schemeClr val="tx1"/>
                </a:solidFill>
                <a:cs typeface="Calibri"/>
              </a:rPr>
              <a:t>Model validation</a:t>
            </a:r>
          </a:p>
          <a:p>
            <a:pPr marL="171450" indent="-171450">
              <a:buFont typeface="Arial"/>
              <a:buChar char="•"/>
            </a:pPr>
            <a:endParaRPr lang="en-US" sz="1000" dirty="0">
              <a:solidFill>
                <a:schemeClr val="tx1"/>
              </a:solidFill>
              <a:cs typeface="Calibri"/>
            </a:endParaRPr>
          </a:p>
          <a:p>
            <a:pPr marL="171450" indent="-171450">
              <a:buFont typeface="Arial"/>
              <a:buChar char="•"/>
            </a:pPr>
            <a:r>
              <a:rPr lang="en-US" sz="1000" dirty="0">
                <a:solidFill>
                  <a:schemeClr val="tx1"/>
                </a:solidFill>
                <a:cs typeface="Calibri"/>
              </a:rPr>
              <a:t>Model validation against test data</a:t>
            </a:r>
          </a:p>
          <a:p>
            <a:pPr marL="171450" indent="-171450">
              <a:buFont typeface="Arial"/>
              <a:buChar char="•"/>
            </a:pPr>
            <a:r>
              <a:rPr lang="en-US" sz="1000" dirty="0">
                <a:solidFill>
                  <a:schemeClr val="tx1"/>
                </a:solidFill>
                <a:cs typeface="Calibri"/>
              </a:rPr>
              <a:t>multi-class performance metrics</a:t>
            </a:r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DC3761CC-3062-41B9-8728-CD8B477E702A}"/>
              </a:ext>
            </a:extLst>
          </p:cNvPr>
          <p:cNvSpPr/>
          <p:nvPr/>
        </p:nvSpPr>
        <p:spPr>
          <a:xfrm>
            <a:off x="10188868" y="3080321"/>
            <a:ext cx="228600" cy="228600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cs typeface="Calibri"/>
            </a:endParaRPr>
          </a:p>
        </p:txBody>
      </p: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2BB1064B-C7D4-44B4-9007-4A944E7E8806}"/>
              </a:ext>
            </a:extLst>
          </p:cNvPr>
          <p:cNvSpPr/>
          <p:nvPr/>
        </p:nvSpPr>
        <p:spPr>
          <a:xfrm>
            <a:off x="8145576" y="3080321"/>
            <a:ext cx="228600" cy="228600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cs typeface="Calibri"/>
            </a:endParaRPr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48BFBBBF-2E13-420B-ABA8-4A47699A50EE}"/>
              </a:ext>
            </a:extLst>
          </p:cNvPr>
          <p:cNvSpPr/>
          <p:nvPr/>
        </p:nvSpPr>
        <p:spPr>
          <a:xfrm>
            <a:off x="6102284" y="3080321"/>
            <a:ext cx="228600" cy="228600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cs typeface="Calibri"/>
            </a:endParaRPr>
          </a:p>
        </p:txBody>
      </p:sp>
      <p:sp>
        <p:nvSpPr>
          <p:cNvPr id="19" name="Arrow: Right 18">
            <a:extLst>
              <a:ext uri="{FF2B5EF4-FFF2-40B4-BE49-F238E27FC236}">
                <a16:creationId xmlns:a16="http://schemas.microsoft.com/office/drawing/2014/main" id="{237BEC1D-24E1-486E-ADE4-37DB3E26F847}"/>
              </a:ext>
            </a:extLst>
          </p:cNvPr>
          <p:cNvSpPr/>
          <p:nvPr/>
        </p:nvSpPr>
        <p:spPr>
          <a:xfrm>
            <a:off x="4058992" y="3080321"/>
            <a:ext cx="228600" cy="228600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cs typeface="Calibri"/>
            </a:endParaRPr>
          </a:p>
        </p:txBody>
      </p:sp>
      <p:sp>
        <p:nvSpPr>
          <p:cNvPr id="21" name="Arrow: Right 20">
            <a:extLst>
              <a:ext uri="{FF2B5EF4-FFF2-40B4-BE49-F238E27FC236}">
                <a16:creationId xmlns:a16="http://schemas.microsoft.com/office/drawing/2014/main" id="{5591ECBC-E0BC-4EE1-8114-E4101A102E05}"/>
              </a:ext>
            </a:extLst>
          </p:cNvPr>
          <p:cNvSpPr/>
          <p:nvPr/>
        </p:nvSpPr>
        <p:spPr>
          <a:xfrm>
            <a:off x="2015700" y="3080321"/>
            <a:ext cx="228600" cy="228600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cs typeface="Calibri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100B8FD-658D-4496-A22A-A506A9D12744}"/>
              </a:ext>
            </a:extLst>
          </p:cNvPr>
          <p:cNvSpPr/>
          <p:nvPr/>
        </p:nvSpPr>
        <p:spPr>
          <a:xfrm>
            <a:off x="285394" y="5250729"/>
            <a:ext cx="8189303" cy="94361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is is very good. Maybe we need something similar for data processing &amp; A/B test design? What do you think? This could also serve as documentation &amp; help us fill out the task list excel.</a:t>
            </a:r>
          </a:p>
        </p:txBody>
      </p:sp>
    </p:spTree>
    <p:extLst>
      <p:ext uri="{BB962C8B-B14F-4D97-AF65-F5344CB8AC3E}">
        <p14:creationId xmlns:p14="http://schemas.microsoft.com/office/powerpoint/2010/main" val="11530446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D321435-B2A0-4917-97CC-841B53BC88E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D321435-B2A0-4917-97CC-841B53BC88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EB160C2-BF1E-4FFA-9447-07ADC756292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579CA4-A565-4F79-95C5-4A0EC847AF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394" y="286745"/>
            <a:ext cx="11621212" cy="455505"/>
          </a:xfrm>
        </p:spPr>
        <p:txBody>
          <a:bodyPr/>
          <a:lstStyle/>
          <a:p>
            <a:r>
              <a:rPr lang="en-IN" sz="2400" dirty="0">
                <a:latin typeface="Calibri"/>
                <a:ea typeface="MS PGothic"/>
                <a:cs typeface="Calibri"/>
              </a:rPr>
              <a:t>NLP – exploration of unlabelled calls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90689D5-9648-487F-BF2E-432CA59D22AD}"/>
              </a:ext>
            </a:extLst>
          </p:cNvPr>
          <p:cNvSpPr/>
          <p:nvPr/>
        </p:nvSpPr>
        <p:spPr>
          <a:xfrm>
            <a:off x="2244183" y="2057325"/>
            <a:ext cx="1554480" cy="194672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algn="ctr"/>
            <a:r>
              <a:rPr lang="en-US" sz="1000" b="1" dirty="0">
                <a:solidFill>
                  <a:schemeClr val="tx2"/>
                </a:solidFill>
              </a:rPr>
              <a:t>Data processing &amp; cleaning</a:t>
            </a:r>
            <a:endParaRPr lang="en-US" dirty="0">
              <a:solidFill>
                <a:schemeClr val="tx2"/>
              </a:solidFill>
              <a:cs typeface="Calibri"/>
            </a:endParaRPr>
          </a:p>
          <a:p>
            <a:pPr algn="ctr"/>
            <a:endParaRPr lang="en-US" sz="1000" b="1" dirty="0">
              <a:solidFill>
                <a:schemeClr val="tx2"/>
              </a:solidFill>
              <a:cs typeface="Calibri"/>
            </a:endParaRPr>
          </a:p>
          <a:p>
            <a:r>
              <a:rPr lang="en-US" sz="1000" dirty="0">
                <a:solidFill>
                  <a:schemeClr val="tx2"/>
                </a:solidFill>
                <a:cs typeface="Calibri"/>
              </a:rPr>
              <a:t>3. Combine continuous sequence of initiator/ receiver texts into one</a:t>
            </a:r>
          </a:p>
          <a:p>
            <a:r>
              <a:rPr lang="en-US" sz="1000" dirty="0">
                <a:solidFill>
                  <a:schemeClr val="tx2"/>
                </a:solidFill>
                <a:cs typeface="Calibri"/>
              </a:rPr>
              <a:t>4. Remove redacted texts</a:t>
            </a:r>
          </a:p>
          <a:p>
            <a:r>
              <a:rPr lang="en-US" sz="1000" dirty="0">
                <a:solidFill>
                  <a:schemeClr val="tx2"/>
                </a:solidFill>
                <a:cs typeface="Calibri"/>
              </a:rPr>
              <a:t>5. Remove stop words, contractions, punctuations</a:t>
            </a:r>
          </a:p>
          <a:p>
            <a:r>
              <a:rPr lang="en-US" sz="1000" dirty="0">
                <a:solidFill>
                  <a:schemeClr val="tx2"/>
                </a:solidFill>
                <a:cs typeface="Calibri"/>
              </a:rPr>
              <a:t>6. lemmatize</a:t>
            </a:r>
          </a:p>
          <a:p>
            <a:endParaRPr lang="en-US" sz="1000" dirty="0">
              <a:solidFill>
                <a:schemeClr val="tx2"/>
              </a:solidFill>
              <a:cs typeface="Calibri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7F8D248-AB9F-4CB2-99E3-2F69B2CB5474}"/>
              </a:ext>
            </a:extLst>
          </p:cNvPr>
          <p:cNvSpPr txBox="1"/>
          <p:nvPr/>
        </p:nvSpPr>
        <p:spPr>
          <a:xfrm>
            <a:off x="4151404" y="2057325"/>
            <a:ext cx="1944550" cy="193899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000" b="1" dirty="0">
                <a:cs typeface="Calibri"/>
              </a:rPr>
              <a:t>Exploration</a:t>
            </a:r>
          </a:p>
          <a:p>
            <a:pPr marL="171450" indent="-171450">
              <a:buFont typeface="Arial"/>
              <a:buChar char="•"/>
            </a:pPr>
            <a:r>
              <a:rPr lang="en-US" sz="1000" dirty="0">
                <a:cs typeface="Calibri"/>
              </a:rPr>
              <a:t>identify frequent words</a:t>
            </a:r>
          </a:p>
          <a:p>
            <a:pPr marL="171450" indent="-171450">
              <a:buFont typeface="Arial"/>
              <a:buChar char="•"/>
            </a:pPr>
            <a:r>
              <a:rPr lang="en-US" sz="1000" dirty="0">
                <a:cs typeface="Calibri"/>
              </a:rPr>
              <a:t>distribution of words</a:t>
            </a:r>
          </a:p>
          <a:p>
            <a:pPr marL="171450" indent="-171450">
              <a:buFont typeface="Arial"/>
              <a:buChar char="•"/>
            </a:pPr>
            <a:r>
              <a:rPr lang="en-US" sz="1000" dirty="0">
                <a:cs typeface="Calibri"/>
              </a:rPr>
              <a:t>Bigrams, trigrams distribution (before and after processing)</a:t>
            </a:r>
          </a:p>
          <a:p>
            <a:pPr marL="171450" indent="-171450">
              <a:buFont typeface="Arial"/>
              <a:buChar char="•"/>
            </a:pPr>
            <a:r>
              <a:rPr lang="en-US" sz="1000" dirty="0">
                <a:cs typeface="Calibri"/>
              </a:rPr>
              <a:t>Word clouds/ plots</a:t>
            </a:r>
          </a:p>
          <a:p>
            <a:pPr marL="171450" indent="-171450">
              <a:buFont typeface="Arial"/>
              <a:buChar char="•"/>
            </a:pPr>
            <a:r>
              <a:rPr lang="en-US" sz="1000" dirty="0">
                <a:cs typeface="Calibri"/>
              </a:rPr>
              <a:t>Explore texts with associated topics to get some insights</a:t>
            </a:r>
          </a:p>
          <a:p>
            <a:pPr marL="171450" indent="-171450">
              <a:buFont typeface="Arial"/>
              <a:buChar char="•"/>
            </a:pPr>
            <a:r>
              <a:rPr lang="en-US" sz="1000" dirty="0">
                <a:cs typeface="Calibri"/>
              </a:rPr>
              <a:t>Analyze Receiver and Initiator conversations closely</a:t>
            </a:r>
          </a:p>
          <a:p>
            <a:pPr marL="171450" indent="-171450">
              <a:buFont typeface="Arial"/>
              <a:buChar char="•"/>
            </a:pPr>
            <a:endParaRPr lang="en-US" sz="1000" dirty="0">
              <a:cs typeface="Calibri"/>
            </a:endParaRPr>
          </a:p>
          <a:p>
            <a:pPr marL="171450" indent="-171450">
              <a:buFont typeface="Arial"/>
              <a:buChar char="•"/>
            </a:pPr>
            <a:endParaRPr lang="en-US" sz="1000" dirty="0">
              <a:cs typeface="Calibri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0CE7B3F-C639-4DAF-B4B4-E360BE4C3084}"/>
              </a:ext>
            </a:extLst>
          </p:cNvPr>
          <p:cNvSpPr txBox="1"/>
          <p:nvPr/>
        </p:nvSpPr>
        <p:spPr>
          <a:xfrm>
            <a:off x="8374059" y="2057325"/>
            <a:ext cx="1554480" cy="178510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000" b="1" dirty="0">
                <a:cs typeface="Calibri"/>
              </a:rPr>
              <a:t>Mapping logic:</a:t>
            </a:r>
            <a:endParaRPr lang="en-US" dirty="0">
              <a:cs typeface="Calibri"/>
            </a:endParaRPr>
          </a:p>
          <a:p>
            <a:pPr algn="ctr"/>
            <a:endParaRPr lang="en-US" sz="1000" b="1" dirty="0">
              <a:cs typeface="Calibri"/>
            </a:endParaRPr>
          </a:p>
          <a:p>
            <a:pPr algn="ctr"/>
            <a:endParaRPr lang="en-US" sz="1000" b="1" dirty="0">
              <a:cs typeface="Calibri"/>
            </a:endParaRPr>
          </a:p>
          <a:p>
            <a:pPr algn="ctr"/>
            <a:endParaRPr lang="en-US" sz="1000" b="1" dirty="0">
              <a:cs typeface="Calibri"/>
            </a:endParaRPr>
          </a:p>
          <a:p>
            <a:r>
              <a:rPr lang="en-US" sz="1000" dirty="0">
                <a:cs typeface="Calibri"/>
              </a:rPr>
              <a:t>Based on topics derived from modelling, create mapping function (cosine distance/ ML algorithmic based) to map calls with topics</a:t>
            </a:r>
          </a:p>
          <a:p>
            <a:endParaRPr lang="en-US" sz="1000" dirty="0">
              <a:cs typeface="Calibri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F7A2F09-2136-4882-B766-566F2E55DF35}"/>
              </a:ext>
            </a:extLst>
          </p:cNvPr>
          <p:cNvSpPr txBox="1"/>
          <p:nvPr/>
        </p:nvSpPr>
        <p:spPr>
          <a:xfrm>
            <a:off x="6330767" y="2057325"/>
            <a:ext cx="1554480" cy="193899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000" b="1" dirty="0"/>
              <a:t>Topic modelling</a:t>
            </a:r>
          </a:p>
          <a:p>
            <a:endParaRPr lang="en-US" sz="1000" b="1" dirty="0">
              <a:cs typeface="Calibri"/>
            </a:endParaRPr>
          </a:p>
          <a:p>
            <a:pPr marL="171450" indent="-171450">
              <a:buFont typeface="Arial"/>
              <a:buChar char="•"/>
            </a:pPr>
            <a:r>
              <a:rPr lang="en-US" sz="1000" dirty="0">
                <a:cs typeface="Calibri"/>
              </a:rPr>
              <a:t>LDA/ Top2vec</a:t>
            </a:r>
          </a:p>
          <a:p>
            <a:pPr marL="171450" indent="-171450">
              <a:buFont typeface="Arial"/>
              <a:buChar char="•"/>
            </a:pPr>
            <a:endParaRPr lang="en-US" sz="1000" dirty="0">
              <a:cs typeface="Calibri"/>
            </a:endParaRPr>
          </a:p>
          <a:p>
            <a:pPr marL="171450" indent="-171450">
              <a:buFont typeface="Arial"/>
              <a:buChar char="•"/>
            </a:pPr>
            <a:endParaRPr lang="en-US" sz="1000" dirty="0">
              <a:cs typeface="Calibri"/>
            </a:endParaRPr>
          </a:p>
          <a:p>
            <a:pPr marL="171450" indent="-171450">
              <a:buFont typeface="Arial"/>
              <a:buChar char="•"/>
            </a:pPr>
            <a:endParaRPr lang="en-US" sz="1000" dirty="0">
              <a:ea typeface="+mn-lt"/>
              <a:cs typeface="+mn-lt"/>
            </a:endParaRPr>
          </a:p>
          <a:p>
            <a:pPr algn="ctr"/>
            <a:r>
              <a:rPr lang="en-US" sz="1000" b="1" dirty="0">
                <a:ea typeface="+mn-lt"/>
                <a:cs typeface="+mn-lt"/>
              </a:rPr>
              <a:t>Key phrase extraction</a:t>
            </a:r>
            <a:endParaRPr lang="en-US" sz="1000" dirty="0">
              <a:ea typeface="+mn-lt"/>
              <a:cs typeface="+mn-lt"/>
            </a:endParaRPr>
          </a:p>
          <a:p>
            <a:r>
              <a:rPr lang="en-US" sz="1000" dirty="0">
                <a:ea typeface="+mn-lt"/>
                <a:cs typeface="+mn-lt"/>
              </a:rPr>
              <a:t>[Optional- need to be assessed]</a:t>
            </a:r>
          </a:p>
          <a:p>
            <a:pPr marL="285750" indent="-285750">
              <a:buFont typeface="Arial"/>
              <a:buChar char="•"/>
            </a:pPr>
            <a:endParaRPr lang="en-US" sz="1000" dirty="0">
              <a:ea typeface="+mn-lt"/>
              <a:cs typeface="+mn-lt"/>
            </a:endParaRPr>
          </a:p>
          <a:p>
            <a:pPr marL="285750" indent="-285750">
              <a:buFont typeface="Arial"/>
              <a:buChar char="•"/>
            </a:pPr>
            <a:r>
              <a:rPr lang="en-US" sz="1000" dirty="0" err="1">
                <a:ea typeface="+mn-lt"/>
                <a:cs typeface="+mn-lt"/>
              </a:rPr>
              <a:t>Textrank</a:t>
            </a:r>
            <a:r>
              <a:rPr lang="en-US" sz="1000" dirty="0">
                <a:ea typeface="+mn-lt"/>
                <a:cs typeface="+mn-lt"/>
              </a:rPr>
              <a:t> algos to extract key phrases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AC1F76F-3A22-4046-8DF3-DD718D864032}"/>
              </a:ext>
            </a:extLst>
          </p:cNvPr>
          <p:cNvSpPr/>
          <p:nvPr/>
        </p:nvSpPr>
        <p:spPr>
          <a:xfrm>
            <a:off x="200891" y="2057325"/>
            <a:ext cx="1790337" cy="18288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algn="ctr"/>
            <a:r>
              <a:rPr lang="en-US" sz="1000" b="1" dirty="0">
                <a:solidFill>
                  <a:schemeClr val="tx1"/>
                </a:solidFill>
                <a:ea typeface="+mn-lt"/>
                <a:cs typeface="+mn-lt"/>
              </a:rPr>
              <a:t>Raw call transcripts processing</a:t>
            </a:r>
          </a:p>
          <a:p>
            <a:pPr algn="ctr"/>
            <a:endParaRPr lang="en-US" sz="1000" b="1" dirty="0">
              <a:solidFill>
                <a:schemeClr val="tx1"/>
              </a:solidFill>
              <a:cs typeface="Calibri"/>
            </a:endParaRPr>
          </a:p>
          <a:p>
            <a:r>
              <a:rPr lang="en-US" sz="1000" dirty="0">
                <a:solidFill>
                  <a:schemeClr val="tx1"/>
                </a:solidFill>
                <a:cs typeface="Calibri"/>
              </a:rPr>
              <a:t>1. Consolidated view of three tables on same time period as for labeled calls</a:t>
            </a:r>
          </a:p>
          <a:p>
            <a:endParaRPr lang="en-US" sz="1000" dirty="0">
              <a:solidFill>
                <a:schemeClr val="tx1"/>
              </a:solidFill>
              <a:cs typeface="Calibri"/>
            </a:endParaRPr>
          </a:p>
          <a:p>
            <a:r>
              <a:rPr lang="en-US" sz="1000" dirty="0">
                <a:solidFill>
                  <a:schemeClr val="tx1"/>
                </a:solidFill>
                <a:cs typeface="Calibri"/>
              </a:rPr>
              <a:t>2. Apply appropriate filters to create sample data (LOB and servicing calls)</a:t>
            </a:r>
          </a:p>
          <a:p>
            <a:pPr algn="ctr"/>
            <a:endParaRPr lang="en-US" sz="1000" b="1" dirty="0">
              <a:solidFill>
                <a:schemeClr val="tx1"/>
              </a:solidFill>
              <a:cs typeface="Calibri"/>
            </a:endParaRPr>
          </a:p>
          <a:p>
            <a:pPr algn="ctr"/>
            <a:endParaRPr lang="en-US" sz="1000" b="1" dirty="0">
              <a:solidFill>
                <a:schemeClr val="tx1"/>
              </a:solidFill>
              <a:cs typeface="Calibri"/>
            </a:endParaRPr>
          </a:p>
          <a:p>
            <a:pPr algn="ctr"/>
            <a:endParaRPr lang="en-US" sz="1000" b="1" dirty="0">
              <a:solidFill>
                <a:schemeClr val="tx1"/>
              </a:solidFill>
              <a:cs typeface="Calibri"/>
            </a:endParaRPr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99710CA4-1F6E-4DAD-AE4A-446BDCD08A07}"/>
              </a:ext>
            </a:extLst>
          </p:cNvPr>
          <p:cNvSpPr/>
          <p:nvPr/>
        </p:nvSpPr>
        <p:spPr>
          <a:xfrm>
            <a:off x="1885477" y="2857425"/>
            <a:ext cx="228600" cy="228600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cs typeface="Calibri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3C47EE6-933D-4A34-B5FF-E0DCE999C72B}"/>
              </a:ext>
            </a:extLst>
          </p:cNvPr>
          <p:cNvSpPr/>
          <p:nvPr/>
        </p:nvSpPr>
        <p:spPr>
          <a:xfrm>
            <a:off x="10417353" y="2057325"/>
            <a:ext cx="1554480" cy="18288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algn="ctr"/>
            <a:r>
              <a:rPr lang="en-US" sz="1000" b="1" dirty="0">
                <a:solidFill>
                  <a:schemeClr val="tx1"/>
                </a:solidFill>
                <a:cs typeface="Calibri"/>
              </a:rPr>
              <a:t>Final Validation + Deliverables</a:t>
            </a:r>
          </a:p>
          <a:p>
            <a:endParaRPr lang="en-US" sz="1000" b="1" dirty="0">
              <a:solidFill>
                <a:schemeClr val="tx1"/>
              </a:solidFill>
              <a:cs typeface="Calibri"/>
            </a:endParaRPr>
          </a:p>
          <a:p>
            <a:pPr marL="171450" indent="-171450">
              <a:buFont typeface="Arial"/>
              <a:buChar char="•"/>
            </a:pPr>
            <a:r>
              <a:rPr lang="en-US" sz="1000" dirty="0">
                <a:solidFill>
                  <a:schemeClr val="tx1"/>
                </a:solidFill>
                <a:cs typeface="Calibri"/>
              </a:rPr>
              <a:t>Identify top reasons</a:t>
            </a:r>
          </a:p>
          <a:p>
            <a:pPr marL="171450" indent="-171450">
              <a:buFont typeface="Arial"/>
              <a:buChar char="•"/>
            </a:pPr>
            <a:r>
              <a:rPr lang="en-US" sz="1000" dirty="0">
                <a:solidFill>
                  <a:schemeClr val="tx1"/>
                </a:solidFill>
                <a:cs typeface="Calibri"/>
              </a:rPr>
              <a:t>Create summary stats</a:t>
            </a:r>
          </a:p>
          <a:p>
            <a:pPr marL="171450" indent="-171450">
              <a:buFont typeface="Arial"/>
              <a:buChar char="•"/>
            </a:pPr>
            <a:r>
              <a:rPr lang="en-US" sz="1000" dirty="0">
                <a:solidFill>
                  <a:schemeClr val="tx1"/>
                </a:solidFill>
                <a:cs typeface="Calibri"/>
              </a:rPr>
              <a:t>Validate these labels against existing ones and draw learnings</a:t>
            </a:r>
          </a:p>
        </p:txBody>
      </p: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972BAE32-DCA4-4553-9053-86F5E2ADA376}"/>
              </a:ext>
            </a:extLst>
          </p:cNvPr>
          <p:cNvSpPr/>
          <p:nvPr/>
        </p:nvSpPr>
        <p:spPr>
          <a:xfrm>
            <a:off x="10058645" y="2857425"/>
            <a:ext cx="228600" cy="228600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cs typeface="Calibri"/>
            </a:endParaRPr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327F1EE5-276A-4066-8225-6A6C4D9B87CA}"/>
              </a:ext>
            </a:extLst>
          </p:cNvPr>
          <p:cNvSpPr/>
          <p:nvPr/>
        </p:nvSpPr>
        <p:spPr>
          <a:xfrm>
            <a:off x="8015353" y="2857425"/>
            <a:ext cx="228600" cy="228600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cs typeface="Calibri"/>
            </a:endParaRPr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E846EA3F-05C9-4DFB-9163-7ED39FA16053}"/>
              </a:ext>
            </a:extLst>
          </p:cNvPr>
          <p:cNvSpPr/>
          <p:nvPr/>
        </p:nvSpPr>
        <p:spPr>
          <a:xfrm>
            <a:off x="6099061" y="2857425"/>
            <a:ext cx="228600" cy="228600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cs typeface="Calibri"/>
            </a:endParaRPr>
          </a:p>
        </p:txBody>
      </p: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5BF02441-2889-447C-9A7B-01E392465627}"/>
              </a:ext>
            </a:extLst>
          </p:cNvPr>
          <p:cNvSpPr/>
          <p:nvPr/>
        </p:nvSpPr>
        <p:spPr>
          <a:xfrm>
            <a:off x="3928769" y="2857425"/>
            <a:ext cx="228600" cy="228600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596392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8p0RUtedFvZAqF1jLDU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8p0RUtedFvZAqF1jLDUQ"/>
</p:tagLst>
</file>

<file path=ppt/theme/theme1.xml><?xml version="1.0" encoding="utf-8"?>
<a:theme xmlns:a="http://schemas.openxmlformats.org/drawingml/2006/main" name="Fractal 2020">
  <a:themeElements>
    <a:clrScheme name="Fractal Office colors">
      <a:dk1>
        <a:srgbClr val="474C55"/>
      </a:dk1>
      <a:lt1>
        <a:sysClr val="window" lastClr="FFFFFF"/>
      </a:lt1>
      <a:dk2>
        <a:srgbClr val="44546A"/>
      </a:dk2>
      <a:lt2>
        <a:srgbClr val="E7E6E6"/>
      </a:lt2>
      <a:accent1>
        <a:srgbClr val="EE3124"/>
      </a:accent1>
      <a:accent2>
        <a:srgbClr val="FDB71A"/>
      </a:accent2>
      <a:accent3>
        <a:srgbClr val="008CCC"/>
      </a:accent3>
      <a:accent4>
        <a:srgbClr val="474C55"/>
      </a:accent4>
      <a:accent5>
        <a:srgbClr val="002056"/>
      </a:accent5>
      <a:accent6>
        <a:srgbClr val="70AD47"/>
      </a:accent6>
      <a:hlink>
        <a:srgbClr val="0563C1"/>
      </a:hlink>
      <a:folHlink>
        <a:srgbClr val="DA291C"/>
      </a:folHlink>
    </a:clrScheme>
    <a:fontScheme name="Custom 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Fractal 2020" id="{31711E7A-8B57-414C-B956-1BCC679A6AC9}" vid="{E459CD61-DBE1-4BA1-B59C-041CC9AE91AC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42</Words>
  <Application>Microsoft Office PowerPoint</Application>
  <PresentationFormat>Widescreen</PresentationFormat>
  <Paragraphs>61</Paragraphs>
  <Slides>2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3" baseType="lpstr">
      <vt:lpstr>Fractal 2020</vt:lpstr>
      <vt:lpstr>Call intent prediction</vt:lpstr>
      <vt:lpstr>NLP – exploration of unlabelled call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ck Olivier</dc:creator>
  <cp:lastModifiedBy>Nicholas Olivier</cp:lastModifiedBy>
  <cp:revision>378</cp:revision>
  <dcterms:created xsi:type="dcterms:W3CDTF">2021-04-16T14:02:04Z</dcterms:created>
  <dcterms:modified xsi:type="dcterms:W3CDTF">2021-05-17T12:41:59Z</dcterms:modified>
</cp:coreProperties>
</file>